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4"/>
    <p:sldMasterId id="2147483696" r:id="rId5"/>
    <p:sldMasterId id="2147483700" r:id="rId6"/>
    <p:sldMasterId id="2147483704" r:id="rId7"/>
    <p:sldMasterId id="2147483708" r:id="rId8"/>
  </p:sldMasterIdLst>
  <p:notesMasterIdLst>
    <p:notesMasterId r:id="rId41"/>
  </p:notesMasterIdLst>
  <p:handoutMasterIdLst>
    <p:handoutMasterId r:id="rId42"/>
  </p:handoutMasterIdLst>
  <p:sldIdLst>
    <p:sldId id="2014" r:id="rId9"/>
    <p:sldId id="2016" r:id="rId10"/>
    <p:sldId id="2031" r:id="rId11"/>
    <p:sldId id="2010" r:id="rId12"/>
    <p:sldId id="2012" r:id="rId13"/>
    <p:sldId id="2053" r:id="rId14"/>
    <p:sldId id="2043" r:id="rId15"/>
    <p:sldId id="1956" r:id="rId16"/>
    <p:sldId id="2044" r:id="rId17"/>
    <p:sldId id="2034" r:id="rId18"/>
    <p:sldId id="1968" r:id="rId19"/>
    <p:sldId id="2032" r:id="rId20"/>
    <p:sldId id="2045" r:id="rId21"/>
    <p:sldId id="2047" r:id="rId22"/>
    <p:sldId id="2048" r:id="rId23"/>
    <p:sldId id="2049" r:id="rId24"/>
    <p:sldId id="2033" r:id="rId25"/>
    <p:sldId id="1973" r:id="rId26"/>
    <p:sldId id="1963" r:id="rId27"/>
    <p:sldId id="2021" r:id="rId28"/>
    <p:sldId id="2134804416" r:id="rId29"/>
    <p:sldId id="2134804417" r:id="rId30"/>
    <p:sldId id="2052" r:id="rId31"/>
    <p:sldId id="2024" r:id="rId32"/>
    <p:sldId id="2023" r:id="rId33"/>
    <p:sldId id="2039" r:id="rId34"/>
    <p:sldId id="2040" r:id="rId35"/>
    <p:sldId id="2051" r:id="rId36"/>
    <p:sldId id="2042" r:id="rId37"/>
    <p:sldId id="2134804418" r:id="rId38"/>
    <p:sldId id="2028" r:id="rId39"/>
    <p:sldId id="2134804415" r:id="rId4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7310" userDrawn="1">
          <p15:clr>
            <a:srgbClr val="A4A3A4"/>
          </p15:clr>
        </p15:guide>
        <p15:guide id="3" orient="horz" pos="346" userDrawn="1">
          <p15:clr>
            <a:srgbClr val="A4A3A4"/>
          </p15:clr>
        </p15:guide>
        <p15:guide id="4" orient="horz" pos="3974" userDrawn="1">
          <p15:clr>
            <a:srgbClr val="A4A3A4"/>
          </p15:clr>
        </p15:guide>
        <p15:guide id="5" pos="370" userDrawn="1">
          <p15:clr>
            <a:srgbClr val="A4A3A4"/>
          </p15:clr>
        </p15:guide>
        <p15:guide id="6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drian Kurniawan" initials="AK" lastIdx="1" clrIdx="0">
    <p:extLst>
      <p:ext uri="{19B8F6BF-5375-455C-9EA6-DF929625EA0E}">
        <p15:presenceInfo xmlns:p15="http://schemas.microsoft.com/office/powerpoint/2012/main" userId="Andrian Kurniawan" providerId="None"/>
      </p:ext>
    </p:extLst>
  </p:cmAuthor>
  <p:cmAuthor id="2" name="Monica Logozzo" initials="ML" lastIdx="12" clrIdx="1">
    <p:extLst>
      <p:ext uri="{19B8F6BF-5375-455C-9EA6-DF929625EA0E}">
        <p15:presenceInfo xmlns:p15="http://schemas.microsoft.com/office/powerpoint/2012/main" userId="da3293c313b853dc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7E0EC"/>
    <a:srgbClr val="DEEBF7"/>
    <a:srgbClr val="FFFBF1"/>
    <a:srgbClr val="0083B8"/>
    <a:srgbClr val="F2B02E"/>
    <a:srgbClr val="FFF8FA"/>
    <a:srgbClr val="AE2C49"/>
    <a:srgbClr val="F9FFF2"/>
    <a:srgbClr val="91B64C"/>
    <a:srgbClr val="E187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062" autoAdjust="0"/>
    <p:restoredTop sz="95122" autoAdjust="0"/>
  </p:normalViewPr>
  <p:slideViewPr>
    <p:cSldViewPr snapToGrid="0">
      <p:cViewPr varScale="1">
        <p:scale>
          <a:sx n="67" d="100"/>
          <a:sy n="67" d="100"/>
        </p:scale>
        <p:origin x="716" y="40"/>
      </p:cViewPr>
      <p:guideLst>
        <p:guide orient="horz" pos="2183"/>
        <p:guide pos="7310"/>
        <p:guide orient="horz" pos="346"/>
        <p:guide orient="horz" pos="3974"/>
        <p:guide pos="37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85" d="100"/>
          <a:sy n="85" d="100"/>
        </p:scale>
        <p:origin x="2952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EB733B9-8EC0-42B5-8E57-02021CC32B3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AEAE7FE-5257-44BC-A234-983385E49ED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B053CA-6C57-4F62-BDA1-685AD8AE14C0}" type="datetimeFigureOut">
              <a:rPr lang="en-ID" smtClean="0"/>
              <a:t>14/04/2021</a:t>
            </a:fld>
            <a:endParaRPr lang="en-ID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A70588-37CF-49E6-87F2-C8E1A884FFA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080689-DD23-4926-A93C-03EC6FA6A2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A1F0AD-E956-4B4C-A583-20A57F82C11B}" type="slidenum">
              <a:rPr lang="en-ID" smtClean="0"/>
              <a:t>‹N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0476696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489EC0-97F0-4BF1-B975-36615910DF41}" type="datetimeFigureOut">
              <a:rPr lang="en-ID" smtClean="0"/>
              <a:t>14/04/2021</a:t>
            </a:fld>
            <a:endParaRPr lang="en-ID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DD21E5-C797-4859-80D8-9F6BFF6A8A42}" type="slidenum">
              <a:rPr lang="en-ID" smtClean="0"/>
              <a:t>‹N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42156650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142159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745709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637047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693952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483683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8450652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0583360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5194031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5194031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3530939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067205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2945689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8673584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447868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673525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734466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143879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327416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808733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140072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923596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svg"/><Relationship Id="rId7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9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8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svg"/><Relationship Id="rId7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9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8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8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svg"/><Relationship Id="rId7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svg"/><Relationship Id="rId7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215E7D2-B56A-40DC-98F8-61678B427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-2526632" y="2526630"/>
            <a:ext cx="6858001" cy="18047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F161730-CFCD-4D28-8C09-09BC14770DCC}"/>
              </a:ext>
            </a:extLst>
          </p:cNvPr>
          <p:cNvSpPr/>
          <p:nvPr userDrawn="1"/>
        </p:nvSpPr>
        <p:spPr>
          <a:xfrm>
            <a:off x="0" y="0"/>
            <a:ext cx="1804737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C9FE1C-5EB6-4667-B391-BAEA1FCFCC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8107550" y="2828739"/>
            <a:ext cx="6933664" cy="123524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C43CBDF-7F59-41EF-B665-F9E0B8685FEA}"/>
              </a:ext>
            </a:extLst>
          </p:cNvPr>
          <p:cNvSpPr/>
          <p:nvPr userDrawn="1"/>
        </p:nvSpPr>
        <p:spPr>
          <a:xfrm>
            <a:off x="10945104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C7D304B-09D5-45E0-BBD2-78890A20E1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7522" y="3681547"/>
            <a:ext cx="8607287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F0669A-2E53-4FA4-9D9B-3F6F817F2E9A}"/>
              </a:ext>
            </a:extLst>
          </p:cNvPr>
          <p:cNvCxnSpPr>
            <a:cxnSpLocks/>
          </p:cNvCxnSpPr>
          <p:nvPr userDrawn="1"/>
        </p:nvCxnSpPr>
        <p:spPr>
          <a:xfrm>
            <a:off x="2610710" y="1524973"/>
            <a:ext cx="7606677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33B1DECE-E749-45F7-A87A-FC603ABBDF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7522" y="1162114"/>
            <a:ext cx="8607287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40ABDFD-46CF-4B54-8D04-B44D3EB6260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76" y="5634223"/>
            <a:ext cx="4700544" cy="1049788"/>
          </a:xfrm>
          <a:prstGeom prst="rect">
            <a:avLst/>
          </a:prstGeom>
        </p:spPr>
      </p:pic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B357F59B-3429-46C1-BE3F-D61C928F529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8068" y="271092"/>
            <a:ext cx="3034959" cy="99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6757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215E7D2-B56A-40DC-98F8-61678B427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-2526632" y="2526630"/>
            <a:ext cx="6858001" cy="18047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F161730-CFCD-4D28-8C09-09BC14770DCC}"/>
              </a:ext>
            </a:extLst>
          </p:cNvPr>
          <p:cNvSpPr/>
          <p:nvPr userDrawn="1"/>
        </p:nvSpPr>
        <p:spPr>
          <a:xfrm>
            <a:off x="0" y="0"/>
            <a:ext cx="1804737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C9FE1C-5EB6-4667-B391-BAEA1FCFCC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8107550" y="2828739"/>
            <a:ext cx="6933664" cy="123524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C43CBDF-7F59-41EF-B665-F9E0B8685FEA}"/>
              </a:ext>
            </a:extLst>
          </p:cNvPr>
          <p:cNvSpPr/>
          <p:nvPr userDrawn="1"/>
        </p:nvSpPr>
        <p:spPr>
          <a:xfrm>
            <a:off x="10945104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628F593-C836-44C4-BBD9-5FE387848C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43590" y="442346"/>
            <a:ext cx="3360799" cy="1022993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6C7D304B-09D5-45E0-BBD2-78890A20E1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7522" y="3681547"/>
            <a:ext cx="8607287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F0669A-2E53-4FA4-9D9B-3F6F817F2E9A}"/>
              </a:ext>
            </a:extLst>
          </p:cNvPr>
          <p:cNvCxnSpPr>
            <a:cxnSpLocks/>
          </p:cNvCxnSpPr>
          <p:nvPr userDrawn="1"/>
        </p:nvCxnSpPr>
        <p:spPr>
          <a:xfrm>
            <a:off x="2610710" y="1524973"/>
            <a:ext cx="7606677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33B1DECE-E749-45F7-A87A-FC603ABBDF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7522" y="1162114"/>
            <a:ext cx="8607287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40ABDFD-46CF-4B54-8D04-B44D3EB6260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76" y="5634223"/>
            <a:ext cx="4700544" cy="1049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8066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DEB988-F7BD-432B-B3D0-4A56B797603A}"/>
              </a:ext>
            </a:extLst>
          </p:cNvPr>
          <p:cNvSpPr/>
          <p:nvPr userDrawn="1"/>
        </p:nvSpPr>
        <p:spPr>
          <a:xfrm>
            <a:off x="0" y="-3"/>
            <a:ext cx="6095998" cy="6858003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B1EADCB-401C-4C0F-9BD4-0CB9AE7E249F}"/>
              </a:ext>
            </a:extLst>
          </p:cNvPr>
          <p:cNvSpPr/>
          <p:nvPr userDrawn="1"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1A26618-EF74-4C9B-AFF9-2F47098E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429668" y="2526630"/>
            <a:ext cx="6858001" cy="1804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49064-D5A0-49AF-B759-BD6E9E0F9A5F}"/>
              </a:ext>
            </a:extLst>
          </p:cNvPr>
          <p:cNvSpPr/>
          <p:nvPr userDrawn="1"/>
        </p:nvSpPr>
        <p:spPr>
          <a:xfrm flipH="1">
            <a:off x="6278126" y="0"/>
            <a:ext cx="1565945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1DD3E3C-988F-4E01-9C54-15DDDDC9F0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836" y="540782"/>
            <a:ext cx="5439461" cy="5770952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C7DAA6BB-5630-467F-907E-AFA5E41307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103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6993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B83DB93-234F-4A14-8F5B-E2C78538C3A1}"/>
              </a:ext>
            </a:extLst>
          </p:cNvPr>
          <p:cNvSpPr/>
          <p:nvPr userDrawn="1"/>
        </p:nvSpPr>
        <p:spPr>
          <a:xfrm>
            <a:off x="9754200" y="0"/>
            <a:ext cx="1850292" cy="658816"/>
          </a:xfrm>
          <a:custGeom>
            <a:avLst/>
            <a:gdLst>
              <a:gd name="connsiteX0" fmla="*/ 0 w 2590800"/>
              <a:gd name="connsiteY0" fmla="*/ 0 h 1101969"/>
              <a:gd name="connsiteX1" fmla="*/ 2590800 w 2590800"/>
              <a:gd name="connsiteY1" fmla="*/ 0 h 1101969"/>
              <a:gd name="connsiteX2" fmla="*/ 2590800 w 2590800"/>
              <a:gd name="connsiteY2" fmla="*/ 992553 h 1101969"/>
              <a:gd name="connsiteX3" fmla="*/ 2481384 w 2590800"/>
              <a:gd name="connsiteY3" fmla="*/ 1101969 h 1101969"/>
              <a:gd name="connsiteX4" fmla="*/ 109416 w 2590800"/>
              <a:gd name="connsiteY4" fmla="*/ 1101969 h 1101969"/>
              <a:gd name="connsiteX5" fmla="*/ 0 w 2590800"/>
              <a:gd name="connsiteY5" fmla="*/ 992553 h 1101969"/>
              <a:gd name="connsiteX6" fmla="*/ 0 w 2590800"/>
              <a:gd name="connsiteY6" fmla="*/ 0 h 110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90800" h="1101969">
                <a:moveTo>
                  <a:pt x="0" y="0"/>
                </a:moveTo>
                <a:lnTo>
                  <a:pt x="2590800" y="0"/>
                </a:lnTo>
                <a:lnTo>
                  <a:pt x="2590800" y="992553"/>
                </a:lnTo>
                <a:cubicBezTo>
                  <a:pt x="2590800" y="1052982"/>
                  <a:pt x="2541813" y="1101969"/>
                  <a:pt x="2481384" y="1101969"/>
                </a:cubicBezTo>
                <a:lnTo>
                  <a:pt x="109416" y="1101969"/>
                </a:lnTo>
                <a:cubicBezTo>
                  <a:pt x="48987" y="1101969"/>
                  <a:pt x="0" y="1052982"/>
                  <a:pt x="0" y="99255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EBF63175-CED5-4ACB-B425-9E4D3C83A3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66426" y="281333"/>
            <a:ext cx="1025839" cy="312255"/>
          </a:xfrm>
          <a:prstGeom prst="rect">
            <a:avLst/>
          </a:prstGeom>
        </p:spPr>
      </p:pic>
      <p:pic>
        <p:nvPicPr>
          <p:cNvPr id="15" name="Graphic 3">
            <a:extLst>
              <a:ext uri="{FF2B5EF4-FFF2-40B4-BE49-F238E27FC236}">
                <a16:creationId xmlns:a16="http://schemas.microsoft.com/office/drawing/2014/main" id="{1D78CEA7-5B17-4FDC-B485-393B5A3F8D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54198" y="-2253"/>
            <a:ext cx="1850291" cy="2835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10254886" cy="1325563"/>
          </a:xfrm>
        </p:spPr>
        <p:txBody>
          <a:bodyPr anchor="ctr">
            <a:normAutofit/>
          </a:bodyPr>
          <a:lstStyle>
            <a:lvl1pPr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6880758-31E8-48E1-99DC-AC162FA0E3AA}"/>
              </a:ext>
            </a:extLst>
          </p:cNvPr>
          <p:cNvSpPr/>
          <p:nvPr userDrawn="1"/>
        </p:nvSpPr>
        <p:spPr>
          <a:xfrm rot="5400000" flipH="1">
            <a:off x="10537551" y="-785609"/>
            <a:ext cx="283585" cy="1850293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FC09C13-C951-496A-AFDC-74FC86B982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47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1379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215E7D2-B56A-40DC-98F8-61678B427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-2526632" y="2526630"/>
            <a:ext cx="6858001" cy="18047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F161730-CFCD-4D28-8C09-09BC14770DCC}"/>
              </a:ext>
            </a:extLst>
          </p:cNvPr>
          <p:cNvSpPr/>
          <p:nvPr userDrawn="1"/>
        </p:nvSpPr>
        <p:spPr>
          <a:xfrm>
            <a:off x="0" y="0"/>
            <a:ext cx="1804737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C9FE1C-5EB6-4667-B391-BAEA1FCFCC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8107550" y="2828739"/>
            <a:ext cx="6933664" cy="123524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C43CBDF-7F59-41EF-B665-F9E0B8685FEA}"/>
              </a:ext>
            </a:extLst>
          </p:cNvPr>
          <p:cNvSpPr/>
          <p:nvPr userDrawn="1"/>
        </p:nvSpPr>
        <p:spPr>
          <a:xfrm>
            <a:off x="10945104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628F593-C836-44C4-BBD9-5FE387848C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43590" y="442346"/>
            <a:ext cx="3360799" cy="1022993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6C7D304B-09D5-45E0-BBD2-78890A20E1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7522" y="3681547"/>
            <a:ext cx="8607287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F0669A-2E53-4FA4-9D9B-3F6F817F2E9A}"/>
              </a:ext>
            </a:extLst>
          </p:cNvPr>
          <p:cNvCxnSpPr>
            <a:cxnSpLocks/>
          </p:cNvCxnSpPr>
          <p:nvPr userDrawn="1"/>
        </p:nvCxnSpPr>
        <p:spPr>
          <a:xfrm>
            <a:off x="2610710" y="1524973"/>
            <a:ext cx="7606677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33B1DECE-E749-45F7-A87A-FC603ABBDF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7522" y="1162114"/>
            <a:ext cx="8607287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40ABDFD-46CF-4B54-8D04-B44D3EB6260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76" y="5634223"/>
            <a:ext cx="4700544" cy="1049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2380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DEB988-F7BD-432B-B3D0-4A56B797603A}"/>
              </a:ext>
            </a:extLst>
          </p:cNvPr>
          <p:cNvSpPr/>
          <p:nvPr userDrawn="1"/>
        </p:nvSpPr>
        <p:spPr>
          <a:xfrm>
            <a:off x="0" y="-3"/>
            <a:ext cx="6095998" cy="6858003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B1EADCB-401C-4C0F-9BD4-0CB9AE7E249F}"/>
              </a:ext>
            </a:extLst>
          </p:cNvPr>
          <p:cNvSpPr/>
          <p:nvPr userDrawn="1"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1A26618-EF74-4C9B-AFF9-2F47098E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429668" y="2526630"/>
            <a:ext cx="6858001" cy="1804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49064-D5A0-49AF-B759-BD6E9E0F9A5F}"/>
              </a:ext>
            </a:extLst>
          </p:cNvPr>
          <p:cNvSpPr/>
          <p:nvPr userDrawn="1"/>
        </p:nvSpPr>
        <p:spPr>
          <a:xfrm flipH="1">
            <a:off x="6278126" y="0"/>
            <a:ext cx="1565945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1DD3E3C-988F-4E01-9C54-15DDDDC9F0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836" y="540782"/>
            <a:ext cx="5439461" cy="5770952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C7DAA6BB-5630-467F-907E-AFA5E41307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103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99305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B83DB93-234F-4A14-8F5B-E2C78538C3A1}"/>
              </a:ext>
            </a:extLst>
          </p:cNvPr>
          <p:cNvSpPr/>
          <p:nvPr userDrawn="1"/>
        </p:nvSpPr>
        <p:spPr>
          <a:xfrm>
            <a:off x="9754200" y="0"/>
            <a:ext cx="1850292" cy="658816"/>
          </a:xfrm>
          <a:custGeom>
            <a:avLst/>
            <a:gdLst>
              <a:gd name="connsiteX0" fmla="*/ 0 w 2590800"/>
              <a:gd name="connsiteY0" fmla="*/ 0 h 1101969"/>
              <a:gd name="connsiteX1" fmla="*/ 2590800 w 2590800"/>
              <a:gd name="connsiteY1" fmla="*/ 0 h 1101969"/>
              <a:gd name="connsiteX2" fmla="*/ 2590800 w 2590800"/>
              <a:gd name="connsiteY2" fmla="*/ 992553 h 1101969"/>
              <a:gd name="connsiteX3" fmla="*/ 2481384 w 2590800"/>
              <a:gd name="connsiteY3" fmla="*/ 1101969 h 1101969"/>
              <a:gd name="connsiteX4" fmla="*/ 109416 w 2590800"/>
              <a:gd name="connsiteY4" fmla="*/ 1101969 h 1101969"/>
              <a:gd name="connsiteX5" fmla="*/ 0 w 2590800"/>
              <a:gd name="connsiteY5" fmla="*/ 992553 h 1101969"/>
              <a:gd name="connsiteX6" fmla="*/ 0 w 2590800"/>
              <a:gd name="connsiteY6" fmla="*/ 0 h 110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90800" h="1101969">
                <a:moveTo>
                  <a:pt x="0" y="0"/>
                </a:moveTo>
                <a:lnTo>
                  <a:pt x="2590800" y="0"/>
                </a:lnTo>
                <a:lnTo>
                  <a:pt x="2590800" y="992553"/>
                </a:lnTo>
                <a:cubicBezTo>
                  <a:pt x="2590800" y="1052982"/>
                  <a:pt x="2541813" y="1101969"/>
                  <a:pt x="2481384" y="1101969"/>
                </a:cubicBezTo>
                <a:lnTo>
                  <a:pt x="109416" y="1101969"/>
                </a:lnTo>
                <a:cubicBezTo>
                  <a:pt x="48987" y="1101969"/>
                  <a:pt x="0" y="1052982"/>
                  <a:pt x="0" y="99255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EBF63175-CED5-4ACB-B425-9E4D3C83A3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66426" y="281333"/>
            <a:ext cx="1025839" cy="312255"/>
          </a:xfrm>
          <a:prstGeom prst="rect">
            <a:avLst/>
          </a:prstGeom>
        </p:spPr>
      </p:pic>
      <p:pic>
        <p:nvPicPr>
          <p:cNvPr id="15" name="Graphic 3">
            <a:extLst>
              <a:ext uri="{FF2B5EF4-FFF2-40B4-BE49-F238E27FC236}">
                <a16:creationId xmlns:a16="http://schemas.microsoft.com/office/drawing/2014/main" id="{1D78CEA7-5B17-4FDC-B485-393B5A3F8D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54198" y="-2253"/>
            <a:ext cx="1850291" cy="2835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10254886" cy="1325563"/>
          </a:xfrm>
        </p:spPr>
        <p:txBody>
          <a:bodyPr anchor="ctr">
            <a:normAutofit/>
          </a:bodyPr>
          <a:lstStyle>
            <a:lvl1pPr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6880758-31E8-48E1-99DC-AC162FA0E3AA}"/>
              </a:ext>
            </a:extLst>
          </p:cNvPr>
          <p:cNvSpPr/>
          <p:nvPr userDrawn="1"/>
        </p:nvSpPr>
        <p:spPr>
          <a:xfrm rot="5400000" flipH="1">
            <a:off x="10537551" y="-785609"/>
            <a:ext cx="283585" cy="1850293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FC09C13-C951-496A-AFDC-74FC86B982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47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6143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DEB988-F7BD-432B-B3D0-4A56B797603A}"/>
              </a:ext>
            </a:extLst>
          </p:cNvPr>
          <p:cNvSpPr/>
          <p:nvPr userDrawn="1"/>
        </p:nvSpPr>
        <p:spPr>
          <a:xfrm>
            <a:off x="0" y="-3"/>
            <a:ext cx="6095998" cy="6858003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B1EADCB-401C-4C0F-9BD4-0CB9AE7E249F}"/>
              </a:ext>
            </a:extLst>
          </p:cNvPr>
          <p:cNvSpPr/>
          <p:nvPr userDrawn="1"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1A26618-EF74-4C9B-AFF9-2F47098E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429668" y="2526630"/>
            <a:ext cx="6858001" cy="1804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49064-D5A0-49AF-B759-BD6E9E0F9A5F}"/>
              </a:ext>
            </a:extLst>
          </p:cNvPr>
          <p:cNvSpPr/>
          <p:nvPr userDrawn="1"/>
        </p:nvSpPr>
        <p:spPr>
          <a:xfrm flipH="1">
            <a:off x="6278126" y="0"/>
            <a:ext cx="1565945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1DD3E3C-988F-4E01-9C54-15DDDDC9F0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836" y="540782"/>
            <a:ext cx="5439461" cy="5770952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C7DAA6BB-5630-467F-907E-AFA5E41307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103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4177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B83DB93-234F-4A14-8F5B-E2C78538C3A1}"/>
              </a:ext>
            </a:extLst>
          </p:cNvPr>
          <p:cNvSpPr/>
          <p:nvPr userDrawn="1"/>
        </p:nvSpPr>
        <p:spPr>
          <a:xfrm>
            <a:off x="9754200" y="0"/>
            <a:ext cx="1850292" cy="658816"/>
          </a:xfrm>
          <a:custGeom>
            <a:avLst/>
            <a:gdLst>
              <a:gd name="connsiteX0" fmla="*/ 0 w 2590800"/>
              <a:gd name="connsiteY0" fmla="*/ 0 h 1101969"/>
              <a:gd name="connsiteX1" fmla="*/ 2590800 w 2590800"/>
              <a:gd name="connsiteY1" fmla="*/ 0 h 1101969"/>
              <a:gd name="connsiteX2" fmla="*/ 2590800 w 2590800"/>
              <a:gd name="connsiteY2" fmla="*/ 992553 h 1101969"/>
              <a:gd name="connsiteX3" fmla="*/ 2481384 w 2590800"/>
              <a:gd name="connsiteY3" fmla="*/ 1101969 h 1101969"/>
              <a:gd name="connsiteX4" fmla="*/ 109416 w 2590800"/>
              <a:gd name="connsiteY4" fmla="*/ 1101969 h 1101969"/>
              <a:gd name="connsiteX5" fmla="*/ 0 w 2590800"/>
              <a:gd name="connsiteY5" fmla="*/ 992553 h 1101969"/>
              <a:gd name="connsiteX6" fmla="*/ 0 w 2590800"/>
              <a:gd name="connsiteY6" fmla="*/ 0 h 110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90800" h="1101969">
                <a:moveTo>
                  <a:pt x="0" y="0"/>
                </a:moveTo>
                <a:lnTo>
                  <a:pt x="2590800" y="0"/>
                </a:lnTo>
                <a:lnTo>
                  <a:pt x="2590800" y="992553"/>
                </a:lnTo>
                <a:cubicBezTo>
                  <a:pt x="2590800" y="1052982"/>
                  <a:pt x="2541813" y="1101969"/>
                  <a:pt x="2481384" y="1101969"/>
                </a:cubicBezTo>
                <a:lnTo>
                  <a:pt x="109416" y="1101969"/>
                </a:lnTo>
                <a:cubicBezTo>
                  <a:pt x="48987" y="1101969"/>
                  <a:pt x="0" y="1052982"/>
                  <a:pt x="0" y="99255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15" name="Graphic 3">
            <a:extLst>
              <a:ext uri="{FF2B5EF4-FFF2-40B4-BE49-F238E27FC236}">
                <a16:creationId xmlns:a16="http://schemas.microsoft.com/office/drawing/2014/main" id="{1D78CEA7-5B17-4FDC-B485-393B5A3F8D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54198" y="-2253"/>
            <a:ext cx="1850291" cy="2835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10254886" cy="1325563"/>
          </a:xfrm>
        </p:spPr>
        <p:txBody>
          <a:bodyPr anchor="ctr">
            <a:normAutofit/>
          </a:bodyPr>
          <a:lstStyle>
            <a:lvl1pPr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6880758-31E8-48E1-99DC-AC162FA0E3AA}"/>
              </a:ext>
            </a:extLst>
          </p:cNvPr>
          <p:cNvSpPr/>
          <p:nvPr userDrawn="1"/>
        </p:nvSpPr>
        <p:spPr>
          <a:xfrm rot="5400000" flipH="1">
            <a:off x="10537551" y="-785609"/>
            <a:ext cx="283585" cy="1850293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FC09C13-C951-496A-AFDC-74FC86B982E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47" y="6137848"/>
            <a:ext cx="2412123" cy="538707"/>
          </a:xfrm>
          <a:prstGeom prst="rect">
            <a:avLst/>
          </a:prstGeom>
        </p:spPr>
      </p:pic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724E0394-1FB6-4198-8100-44F73B3228F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4484" y="259205"/>
            <a:ext cx="969723" cy="318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1791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215E7D2-B56A-40DC-98F8-61678B427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-2526632" y="2526630"/>
            <a:ext cx="6858001" cy="18047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F161730-CFCD-4D28-8C09-09BC14770DCC}"/>
              </a:ext>
            </a:extLst>
          </p:cNvPr>
          <p:cNvSpPr/>
          <p:nvPr userDrawn="1"/>
        </p:nvSpPr>
        <p:spPr>
          <a:xfrm>
            <a:off x="0" y="0"/>
            <a:ext cx="1804737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C9FE1C-5EB6-4667-B391-BAEA1FCFCC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8107550" y="2828739"/>
            <a:ext cx="6933664" cy="123524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C43CBDF-7F59-41EF-B665-F9E0B8685FEA}"/>
              </a:ext>
            </a:extLst>
          </p:cNvPr>
          <p:cNvSpPr/>
          <p:nvPr userDrawn="1"/>
        </p:nvSpPr>
        <p:spPr>
          <a:xfrm>
            <a:off x="10945104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628F593-C836-44C4-BBD9-5FE387848C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43590" y="442346"/>
            <a:ext cx="3360799" cy="1022993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6C7D304B-09D5-45E0-BBD2-78890A20E1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7522" y="3681547"/>
            <a:ext cx="8607287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F0669A-2E53-4FA4-9D9B-3F6F817F2E9A}"/>
              </a:ext>
            </a:extLst>
          </p:cNvPr>
          <p:cNvCxnSpPr>
            <a:cxnSpLocks/>
          </p:cNvCxnSpPr>
          <p:nvPr userDrawn="1"/>
        </p:nvCxnSpPr>
        <p:spPr>
          <a:xfrm>
            <a:off x="2610710" y="1524973"/>
            <a:ext cx="7606677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33B1DECE-E749-45F7-A87A-FC603ABBDF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7522" y="1162114"/>
            <a:ext cx="8607287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40ABDFD-46CF-4B54-8D04-B44D3EB6260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76" y="5634223"/>
            <a:ext cx="4700544" cy="1049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1076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DEB988-F7BD-432B-B3D0-4A56B797603A}"/>
              </a:ext>
            </a:extLst>
          </p:cNvPr>
          <p:cNvSpPr/>
          <p:nvPr userDrawn="1"/>
        </p:nvSpPr>
        <p:spPr>
          <a:xfrm>
            <a:off x="0" y="-3"/>
            <a:ext cx="6095998" cy="6858003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B1EADCB-401C-4C0F-9BD4-0CB9AE7E249F}"/>
              </a:ext>
            </a:extLst>
          </p:cNvPr>
          <p:cNvSpPr/>
          <p:nvPr userDrawn="1"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1A26618-EF74-4C9B-AFF9-2F47098E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429668" y="2526630"/>
            <a:ext cx="6858001" cy="1804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49064-D5A0-49AF-B759-BD6E9E0F9A5F}"/>
              </a:ext>
            </a:extLst>
          </p:cNvPr>
          <p:cNvSpPr/>
          <p:nvPr userDrawn="1"/>
        </p:nvSpPr>
        <p:spPr>
          <a:xfrm flipH="1">
            <a:off x="6278126" y="0"/>
            <a:ext cx="1565945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1DD3E3C-988F-4E01-9C54-15DDDDC9F0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836" y="540782"/>
            <a:ext cx="5439461" cy="5770952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C7DAA6BB-5630-467F-907E-AFA5E41307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103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7594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B83DB93-234F-4A14-8F5B-E2C78538C3A1}"/>
              </a:ext>
            </a:extLst>
          </p:cNvPr>
          <p:cNvSpPr/>
          <p:nvPr userDrawn="1"/>
        </p:nvSpPr>
        <p:spPr>
          <a:xfrm>
            <a:off x="9754200" y="0"/>
            <a:ext cx="1850292" cy="658816"/>
          </a:xfrm>
          <a:custGeom>
            <a:avLst/>
            <a:gdLst>
              <a:gd name="connsiteX0" fmla="*/ 0 w 2590800"/>
              <a:gd name="connsiteY0" fmla="*/ 0 h 1101969"/>
              <a:gd name="connsiteX1" fmla="*/ 2590800 w 2590800"/>
              <a:gd name="connsiteY1" fmla="*/ 0 h 1101969"/>
              <a:gd name="connsiteX2" fmla="*/ 2590800 w 2590800"/>
              <a:gd name="connsiteY2" fmla="*/ 992553 h 1101969"/>
              <a:gd name="connsiteX3" fmla="*/ 2481384 w 2590800"/>
              <a:gd name="connsiteY3" fmla="*/ 1101969 h 1101969"/>
              <a:gd name="connsiteX4" fmla="*/ 109416 w 2590800"/>
              <a:gd name="connsiteY4" fmla="*/ 1101969 h 1101969"/>
              <a:gd name="connsiteX5" fmla="*/ 0 w 2590800"/>
              <a:gd name="connsiteY5" fmla="*/ 992553 h 1101969"/>
              <a:gd name="connsiteX6" fmla="*/ 0 w 2590800"/>
              <a:gd name="connsiteY6" fmla="*/ 0 h 110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90800" h="1101969">
                <a:moveTo>
                  <a:pt x="0" y="0"/>
                </a:moveTo>
                <a:lnTo>
                  <a:pt x="2590800" y="0"/>
                </a:lnTo>
                <a:lnTo>
                  <a:pt x="2590800" y="992553"/>
                </a:lnTo>
                <a:cubicBezTo>
                  <a:pt x="2590800" y="1052982"/>
                  <a:pt x="2541813" y="1101969"/>
                  <a:pt x="2481384" y="1101969"/>
                </a:cubicBezTo>
                <a:lnTo>
                  <a:pt x="109416" y="1101969"/>
                </a:lnTo>
                <a:cubicBezTo>
                  <a:pt x="48987" y="1101969"/>
                  <a:pt x="0" y="1052982"/>
                  <a:pt x="0" y="99255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EBF63175-CED5-4ACB-B425-9E4D3C83A3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66426" y="281333"/>
            <a:ext cx="1025839" cy="312255"/>
          </a:xfrm>
          <a:prstGeom prst="rect">
            <a:avLst/>
          </a:prstGeom>
        </p:spPr>
      </p:pic>
      <p:pic>
        <p:nvPicPr>
          <p:cNvPr id="15" name="Graphic 3">
            <a:extLst>
              <a:ext uri="{FF2B5EF4-FFF2-40B4-BE49-F238E27FC236}">
                <a16:creationId xmlns:a16="http://schemas.microsoft.com/office/drawing/2014/main" id="{1D78CEA7-5B17-4FDC-B485-393B5A3F8D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54198" y="-2253"/>
            <a:ext cx="1850291" cy="2835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10254886" cy="1325563"/>
          </a:xfrm>
        </p:spPr>
        <p:txBody>
          <a:bodyPr anchor="ctr">
            <a:normAutofit/>
          </a:bodyPr>
          <a:lstStyle>
            <a:lvl1pPr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6880758-31E8-48E1-99DC-AC162FA0E3AA}"/>
              </a:ext>
            </a:extLst>
          </p:cNvPr>
          <p:cNvSpPr/>
          <p:nvPr userDrawn="1"/>
        </p:nvSpPr>
        <p:spPr>
          <a:xfrm rot="5400000" flipH="1">
            <a:off x="10537551" y="-785609"/>
            <a:ext cx="283585" cy="1850293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FC09C13-C951-496A-AFDC-74FC86B982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47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3834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215E7D2-B56A-40DC-98F8-61678B427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-2526632" y="2526630"/>
            <a:ext cx="6858001" cy="18047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F161730-CFCD-4D28-8C09-09BC14770DCC}"/>
              </a:ext>
            </a:extLst>
          </p:cNvPr>
          <p:cNvSpPr/>
          <p:nvPr userDrawn="1"/>
        </p:nvSpPr>
        <p:spPr>
          <a:xfrm>
            <a:off x="0" y="0"/>
            <a:ext cx="1804737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C9FE1C-5EB6-4667-B391-BAEA1FCFCC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8107550" y="2828739"/>
            <a:ext cx="6933664" cy="123524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C43CBDF-7F59-41EF-B665-F9E0B8685FEA}"/>
              </a:ext>
            </a:extLst>
          </p:cNvPr>
          <p:cNvSpPr/>
          <p:nvPr userDrawn="1"/>
        </p:nvSpPr>
        <p:spPr>
          <a:xfrm>
            <a:off x="10945104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628F593-C836-44C4-BBD9-5FE387848C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43590" y="442346"/>
            <a:ext cx="3360799" cy="1022993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6C7D304B-09D5-45E0-BBD2-78890A20E1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7522" y="3681547"/>
            <a:ext cx="8607287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F0669A-2E53-4FA4-9D9B-3F6F817F2E9A}"/>
              </a:ext>
            </a:extLst>
          </p:cNvPr>
          <p:cNvCxnSpPr>
            <a:cxnSpLocks/>
          </p:cNvCxnSpPr>
          <p:nvPr userDrawn="1"/>
        </p:nvCxnSpPr>
        <p:spPr>
          <a:xfrm>
            <a:off x="2610710" y="1524973"/>
            <a:ext cx="7606677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33B1DECE-E749-45F7-A87A-FC603ABBDF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7522" y="1162114"/>
            <a:ext cx="8607287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40ABDFD-46CF-4B54-8D04-B44D3EB6260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76" y="5634223"/>
            <a:ext cx="4700544" cy="1049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63696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DEB988-F7BD-432B-B3D0-4A56B797603A}"/>
              </a:ext>
            </a:extLst>
          </p:cNvPr>
          <p:cNvSpPr/>
          <p:nvPr userDrawn="1"/>
        </p:nvSpPr>
        <p:spPr>
          <a:xfrm>
            <a:off x="0" y="-3"/>
            <a:ext cx="6095998" cy="6858003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B1EADCB-401C-4C0F-9BD4-0CB9AE7E249F}"/>
              </a:ext>
            </a:extLst>
          </p:cNvPr>
          <p:cNvSpPr/>
          <p:nvPr userDrawn="1"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1A26618-EF74-4C9B-AFF9-2F47098E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429668" y="2526630"/>
            <a:ext cx="6858001" cy="1804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49064-D5A0-49AF-B759-BD6E9E0F9A5F}"/>
              </a:ext>
            </a:extLst>
          </p:cNvPr>
          <p:cNvSpPr/>
          <p:nvPr userDrawn="1"/>
        </p:nvSpPr>
        <p:spPr>
          <a:xfrm flipH="1">
            <a:off x="6278126" y="0"/>
            <a:ext cx="1565945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1DD3E3C-988F-4E01-9C54-15DDDDC9F0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836" y="540782"/>
            <a:ext cx="5439461" cy="5770952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C7DAA6BB-5630-467F-907E-AFA5E41307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103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9813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B83DB93-234F-4A14-8F5B-E2C78538C3A1}"/>
              </a:ext>
            </a:extLst>
          </p:cNvPr>
          <p:cNvSpPr/>
          <p:nvPr userDrawn="1"/>
        </p:nvSpPr>
        <p:spPr>
          <a:xfrm>
            <a:off x="9754200" y="0"/>
            <a:ext cx="1850292" cy="658816"/>
          </a:xfrm>
          <a:custGeom>
            <a:avLst/>
            <a:gdLst>
              <a:gd name="connsiteX0" fmla="*/ 0 w 2590800"/>
              <a:gd name="connsiteY0" fmla="*/ 0 h 1101969"/>
              <a:gd name="connsiteX1" fmla="*/ 2590800 w 2590800"/>
              <a:gd name="connsiteY1" fmla="*/ 0 h 1101969"/>
              <a:gd name="connsiteX2" fmla="*/ 2590800 w 2590800"/>
              <a:gd name="connsiteY2" fmla="*/ 992553 h 1101969"/>
              <a:gd name="connsiteX3" fmla="*/ 2481384 w 2590800"/>
              <a:gd name="connsiteY3" fmla="*/ 1101969 h 1101969"/>
              <a:gd name="connsiteX4" fmla="*/ 109416 w 2590800"/>
              <a:gd name="connsiteY4" fmla="*/ 1101969 h 1101969"/>
              <a:gd name="connsiteX5" fmla="*/ 0 w 2590800"/>
              <a:gd name="connsiteY5" fmla="*/ 992553 h 1101969"/>
              <a:gd name="connsiteX6" fmla="*/ 0 w 2590800"/>
              <a:gd name="connsiteY6" fmla="*/ 0 h 110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90800" h="1101969">
                <a:moveTo>
                  <a:pt x="0" y="0"/>
                </a:moveTo>
                <a:lnTo>
                  <a:pt x="2590800" y="0"/>
                </a:lnTo>
                <a:lnTo>
                  <a:pt x="2590800" y="992553"/>
                </a:lnTo>
                <a:cubicBezTo>
                  <a:pt x="2590800" y="1052982"/>
                  <a:pt x="2541813" y="1101969"/>
                  <a:pt x="2481384" y="1101969"/>
                </a:cubicBezTo>
                <a:lnTo>
                  <a:pt x="109416" y="1101969"/>
                </a:lnTo>
                <a:cubicBezTo>
                  <a:pt x="48987" y="1101969"/>
                  <a:pt x="0" y="1052982"/>
                  <a:pt x="0" y="99255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EBF63175-CED5-4ACB-B425-9E4D3C83A3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66426" y="281333"/>
            <a:ext cx="1025839" cy="312255"/>
          </a:xfrm>
          <a:prstGeom prst="rect">
            <a:avLst/>
          </a:prstGeom>
        </p:spPr>
      </p:pic>
      <p:pic>
        <p:nvPicPr>
          <p:cNvPr id="15" name="Graphic 3">
            <a:extLst>
              <a:ext uri="{FF2B5EF4-FFF2-40B4-BE49-F238E27FC236}">
                <a16:creationId xmlns:a16="http://schemas.microsoft.com/office/drawing/2014/main" id="{1D78CEA7-5B17-4FDC-B485-393B5A3F8D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54198" y="-2253"/>
            <a:ext cx="1850291" cy="2835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10254886" cy="1325563"/>
          </a:xfrm>
        </p:spPr>
        <p:txBody>
          <a:bodyPr anchor="ctr">
            <a:normAutofit/>
          </a:bodyPr>
          <a:lstStyle>
            <a:lvl1pPr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6880758-31E8-48E1-99DC-AC162FA0E3AA}"/>
              </a:ext>
            </a:extLst>
          </p:cNvPr>
          <p:cNvSpPr/>
          <p:nvPr userDrawn="1"/>
        </p:nvSpPr>
        <p:spPr>
          <a:xfrm rot="5400000" flipH="1">
            <a:off x="10537551" y="-785609"/>
            <a:ext cx="283585" cy="1850293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FC09C13-C951-496A-AFDC-74FC86B982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47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17379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oleObject" Target="../embeddings/oleObject2.bin"/><Relationship Id="rId5" Type="http://schemas.openxmlformats.org/officeDocument/2006/relationships/tags" Target="../tags/tag2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2.bin"/><Relationship Id="rId5" Type="http://schemas.openxmlformats.org/officeDocument/2006/relationships/tags" Target="../tags/tag3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oleObject" Target="../embeddings/oleObject2.bin"/><Relationship Id="rId5" Type="http://schemas.openxmlformats.org/officeDocument/2006/relationships/tags" Target="../tags/tag4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oleObject" Target="../embeddings/oleObject3.bin"/><Relationship Id="rId5" Type="http://schemas.openxmlformats.org/officeDocument/2006/relationships/tags" Target="../tags/tag5.xml"/><Relationship Id="rId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80094931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831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6365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</p:sldLayoutIdLst>
  <p:hf hdr="0" ftr="0" dt="0"/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8">
          <p15:clr>
            <a:srgbClr val="F26B43"/>
          </p15:clr>
        </p15:guide>
        <p15:guide id="9" pos="39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197129148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831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233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</p:sldLayoutIdLst>
  <p:hf hdr="0" ftr="0" dt="0"/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8">
          <p15:clr>
            <a:srgbClr val="F26B43"/>
          </p15:clr>
        </p15:guide>
        <p15:guide id="9" pos="391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8339950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831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9975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</p:sldLayoutIdLst>
  <p:hf hdr="0" ftr="0" dt="0"/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8">
          <p15:clr>
            <a:srgbClr val="F26B43"/>
          </p15:clr>
        </p15:guide>
        <p15:guide id="9" pos="391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338122877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831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556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</p:sldLayoutIdLst>
  <p:hf hdr="0" ftr="0" dt="0"/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8">
          <p15:clr>
            <a:srgbClr val="F26B43"/>
          </p15:clr>
        </p15:guide>
        <p15:guide id="9" pos="391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343969939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831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2499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</p:sldLayoutIdLst>
  <p:hf hdr="0" ftr="0" dt="0"/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8">
          <p15:clr>
            <a:srgbClr val="F26B43"/>
          </p15:clr>
        </p15:guide>
        <p15:guide id="9" pos="39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png"/><Relationship Id="rId5" Type="http://schemas.openxmlformats.org/officeDocument/2006/relationships/image" Target="../media/image15.png"/><Relationship Id="rId4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png"/><Relationship Id="rId5" Type="http://schemas.openxmlformats.org/officeDocument/2006/relationships/image" Target="../media/image15.png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png"/><Relationship Id="rId5" Type="http://schemas.openxmlformats.org/officeDocument/2006/relationships/image" Target="../media/image15.png"/><Relationship Id="rId4" Type="http://schemas.openxmlformats.org/officeDocument/2006/relationships/image" Target="../media/image31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png"/><Relationship Id="rId5" Type="http://schemas.openxmlformats.org/officeDocument/2006/relationships/image" Target="../media/image40.png"/><Relationship Id="rId4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5.sv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47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5.sv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2.png"/><Relationship Id="rId4" Type="http://schemas.openxmlformats.org/officeDocument/2006/relationships/image" Target="../media/image4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7.em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svg"/><Relationship Id="rId13" Type="http://schemas.openxmlformats.org/officeDocument/2006/relationships/image" Target="../media/image66.png"/><Relationship Id="rId18" Type="http://schemas.openxmlformats.org/officeDocument/2006/relationships/image" Target="../media/image71.svg"/><Relationship Id="rId3" Type="http://schemas.openxmlformats.org/officeDocument/2006/relationships/image" Target="../media/image58.png"/><Relationship Id="rId21" Type="http://schemas.openxmlformats.org/officeDocument/2006/relationships/image" Target="../media/image74.png"/><Relationship Id="rId7" Type="http://schemas.openxmlformats.org/officeDocument/2006/relationships/image" Target="../media/image62.png"/><Relationship Id="rId12" Type="http://schemas.openxmlformats.org/officeDocument/2006/relationships/image" Target="../media/image65.svg"/><Relationship Id="rId17" Type="http://schemas.openxmlformats.org/officeDocument/2006/relationships/image" Target="../media/image70.png"/><Relationship Id="rId2" Type="http://schemas.openxmlformats.org/officeDocument/2006/relationships/notesSlide" Target="../notesSlides/notesSlide21.xml"/><Relationship Id="rId16" Type="http://schemas.openxmlformats.org/officeDocument/2006/relationships/image" Target="../media/image69.svg"/><Relationship Id="rId20" Type="http://schemas.openxmlformats.org/officeDocument/2006/relationships/image" Target="../media/image73.sv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1.svg"/><Relationship Id="rId11" Type="http://schemas.openxmlformats.org/officeDocument/2006/relationships/image" Target="../media/image64.png"/><Relationship Id="rId5" Type="http://schemas.openxmlformats.org/officeDocument/2006/relationships/image" Target="../media/image60.png"/><Relationship Id="rId15" Type="http://schemas.openxmlformats.org/officeDocument/2006/relationships/image" Target="../media/image68.png"/><Relationship Id="rId10" Type="http://schemas.openxmlformats.org/officeDocument/2006/relationships/image" Target="../media/image15.png"/><Relationship Id="rId19" Type="http://schemas.openxmlformats.org/officeDocument/2006/relationships/image" Target="../media/image72.png"/><Relationship Id="rId4" Type="http://schemas.openxmlformats.org/officeDocument/2006/relationships/image" Target="../media/image59.svg"/><Relationship Id="rId9" Type="http://schemas.openxmlformats.org/officeDocument/2006/relationships/image" Target="../media/image31.png"/><Relationship Id="rId14" Type="http://schemas.openxmlformats.org/officeDocument/2006/relationships/image" Target="../media/image67.sv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5.pn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FD52B4F-9A6A-42D8-8E19-E6F791913B9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Il Curriculum dello studente</a:t>
            </a:r>
          </a:p>
        </p:txBody>
      </p:sp>
    </p:spTree>
    <p:extLst>
      <p:ext uri="{BB962C8B-B14F-4D97-AF65-F5344CB8AC3E}">
        <p14:creationId xmlns:p14="http://schemas.microsoft.com/office/powerpoint/2010/main" val="11838416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I riferimenti normativi</a:t>
            </a:r>
            <a:endParaRPr lang="it-IT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3FF493C-4A9C-4474-A1B1-B7483BA3D312}"/>
              </a:ext>
            </a:extLst>
          </p:cNvPr>
          <p:cNvSpPr/>
          <p:nvPr/>
        </p:nvSpPr>
        <p:spPr>
          <a:xfrm>
            <a:off x="631775" y="1356395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15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220343" y="4064712"/>
            <a:ext cx="3495675" cy="643839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b="1" dirty="0"/>
              <a:t>Decreto ministeriale 6 agosto 2020, n. 88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224587" y="3810631"/>
            <a:ext cx="5380038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400" i="1" dirty="0"/>
              <a:t>Adozione del modello del Curriculum dello studente (allegato al decreto). Introduzione del Curriculum a partire </a:t>
            </a:r>
            <a:r>
              <a:rPr lang="it-IT" sz="1400" i="1" dirty="0" err="1"/>
              <a:t>dall’a.s.</a:t>
            </a:r>
            <a:r>
              <a:rPr lang="it-IT" sz="1400" i="1" dirty="0"/>
              <a:t> 2020/21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220343" y="2792594"/>
            <a:ext cx="3495675" cy="643839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b="1" dirty="0"/>
              <a:t>D. </a:t>
            </a:r>
            <a:r>
              <a:rPr lang="it-IT" b="1" dirty="0" err="1"/>
              <a:t>lgs</a:t>
            </a:r>
            <a:r>
              <a:rPr lang="it-IT" b="1" dirty="0"/>
              <a:t>. 13 aprile 2017, n. 62 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224587" y="2538513"/>
            <a:ext cx="5380038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400" i="1" dirty="0"/>
              <a:t>Inserimento del Curriculum dello studente come allegato al Diploma dell’esame di Stato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220343" y="1520476"/>
            <a:ext cx="3495675" cy="643839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b="1" dirty="0"/>
              <a:t>Legge 13 luglio 2015, n. 107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224587" y="1266395"/>
            <a:ext cx="5380038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400" i="1" dirty="0"/>
              <a:t>Istituzione del Curriculum dello studente come strumento che individua il profilo dello studente e ne raccoglie tutti  i  dati  utili,  anche  ai  fini dell’orientamento e dell’accesso al mondo del lavoro. Prevista inoltre l’associazione a un’identità digitale 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3FF493C-4A9C-4474-A1B1-B7483BA3D312}"/>
              </a:ext>
            </a:extLst>
          </p:cNvPr>
          <p:cNvSpPr/>
          <p:nvPr/>
        </p:nvSpPr>
        <p:spPr>
          <a:xfrm>
            <a:off x="631775" y="3900631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20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3FF493C-4A9C-4474-A1B1-B7483BA3D312}"/>
              </a:ext>
            </a:extLst>
          </p:cNvPr>
          <p:cNvSpPr/>
          <p:nvPr/>
        </p:nvSpPr>
        <p:spPr>
          <a:xfrm>
            <a:off x="631775" y="2628513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17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FF8876E-4029-44DD-AF74-32D146493D8C}"/>
              </a:ext>
            </a:extLst>
          </p:cNvPr>
          <p:cNvSpPr/>
          <p:nvPr/>
        </p:nvSpPr>
        <p:spPr>
          <a:xfrm>
            <a:off x="631775" y="1349090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15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93FF493C-4A9C-4474-A1B1-B7483BA3D312}"/>
              </a:ext>
            </a:extLst>
          </p:cNvPr>
          <p:cNvSpPr/>
          <p:nvPr/>
        </p:nvSpPr>
        <p:spPr>
          <a:xfrm>
            <a:off x="631775" y="5172748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21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2220343" y="5336829"/>
            <a:ext cx="3495675" cy="643839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b="1" dirty="0"/>
              <a:t>Ordinanza 3 marzo 2021, n. 53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6224587" y="5082748"/>
            <a:ext cx="5380038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400" i="1" dirty="0"/>
              <a:t>Svolgimento dell’esame di Stato del secondo ciclo di istruzione per </a:t>
            </a:r>
            <a:r>
              <a:rPr lang="it-IT" sz="1400" i="1" dirty="0" err="1"/>
              <a:t>l’a.s.</a:t>
            </a:r>
            <a:r>
              <a:rPr lang="it-IT" sz="1400" i="1" dirty="0"/>
              <a:t> 2020/21, con riferimento  anche al Curriculum dello studente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045775" y="2323541"/>
            <a:ext cx="144000" cy="297666"/>
            <a:chOff x="1045775" y="2323541"/>
            <a:chExt cx="144000" cy="297666"/>
          </a:xfrm>
        </p:grpSpPr>
        <p:sp>
          <p:nvSpPr>
            <p:cNvPr id="10" name="Oval 9"/>
            <p:cNvSpPr/>
            <p:nvPr/>
          </p:nvSpPr>
          <p:spPr>
            <a:xfrm>
              <a:off x="1045775" y="2477207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045775" y="2323541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1045775" y="3601271"/>
            <a:ext cx="144000" cy="297666"/>
            <a:chOff x="1045775" y="2323541"/>
            <a:chExt cx="144000" cy="297666"/>
          </a:xfrm>
        </p:grpSpPr>
        <p:sp>
          <p:nvSpPr>
            <p:cNvPr id="59" name="Oval 58"/>
            <p:cNvSpPr/>
            <p:nvPr/>
          </p:nvSpPr>
          <p:spPr>
            <a:xfrm>
              <a:off x="1045775" y="2477207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0" name="Oval 59"/>
            <p:cNvSpPr/>
            <p:nvPr/>
          </p:nvSpPr>
          <p:spPr>
            <a:xfrm>
              <a:off x="1045775" y="2323541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1045775" y="4868691"/>
            <a:ext cx="144000" cy="297666"/>
            <a:chOff x="1045775" y="2323541"/>
            <a:chExt cx="144000" cy="297666"/>
          </a:xfrm>
        </p:grpSpPr>
        <p:sp>
          <p:nvSpPr>
            <p:cNvPr id="62" name="Oval 61"/>
            <p:cNvSpPr/>
            <p:nvPr/>
          </p:nvSpPr>
          <p:spPr>
            <a:xfrm>
              <a:off x="1045775" y="2477207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3" name="Oval 62"/>
            <p:cNvSpPr/>
            <p:nvPr/>
          </p:nvSpPr>
          <p:spPr>
            <a:xfrm>
              <a:off x="1045775" y="2323541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3744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/>
        </p:nvGrpSpPr>
        <p:grpSpPr>
          <a:xfrm>
            <a:off x="1009775" y="2590965"/>
            <a:ext cx="216000" cy="2349008"/>
            <a:chOff x="1895600" y="2590965"/>
            <a:chExt cx="216000" cy="2349008"/>
          </a:xfrm>
        </p:grpSpPr>
        <p:sp>
          <p:nvSpPr>
            <p:cNvPr id="11" name="Oval 10"/>
            <p:cNvSpPr/>
            <p:nvPr/>
          </p:nvSpPr>
          <p:spPr>
            <a:xfrm>
              <a:off x="1895600" y="2895680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Oval 9"/>
            <p:cNvSpPr/>
            <p:nvPr/>
          </p:nvSpPr>
          <p:spPr>
            <a:xfrm>
              <a:off x="1895600" y="2590965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1895600" y="3200395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Oval 12"/>
            <p:cNvSpPr/>
            <p:nvPr/>
          </p:nvSpPr>
          <p:spPr>
            <a:xfrm>
              <a:off x="1895600" y="3505110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Oval 13"/>
            <p:cNvSpPr/>
            <p:nvPr/>
          </p:nvSpPr>
          <p:spPr>
            <a:xfrm>
              <a:off x="1895600" y="3809825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Oval 14"/>
            <p:cNvSpPr/>
            <p:nvPr/>
          </p:nvSpPr>
          <p:spPr>
            <a:xfrm>
              <a:off x="1895600" y="4723973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1895600" y="4114540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/>
            <p:cNvSpPr/>
            <p:nvPr/>
          </p:nvSpPr>
          <p:spPr>
            <a:xfrm>
              <a:off x="1895600" y="4419255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" name="Shape 3915">
            <a:extLst>
              <a:ext uri="{FF2B5EF4-FFF2-40B4-BE49-F238E27FC236}">
                <a16:creationId xmlns:a16="http://schemas.microsoft.com/office/drawing/2014/main" id="{78AED8CB-4EE7-41B4-A784-2E5C49DA4E7B}"/>
              </a:ext>
            </a:extLst>
          </p:cNvPr>
          <p:cNvSpPr txBox="1">
            <a:spLocks/>
          </p:cNvSpPr>
          <p:nvPr/>
        </p:nvSpPr>
        <p:spPr>
          <a:xfrm>
            <a:off x="523797" y="1107513"/>
            <a:ext cx="11152266" cy="497779"/>
          </a:xfrm>
          <a:prstGeom prst="rect">
            <a:avLst/>
          </a:prstGeom>
        </p:spPr>
        <p:txBody>
          <a:bodyPr vert="horz" wrap="square" lIns="121900" tIns="121900" rIns="121900" bIns="12190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Gli sviluppi futuri secondo la normativa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60FBFB8-342E-4D99-8F6F-2510C8A720D8}"/>
              </a:ext>
            </a:extLst>
          </p:cNvPr>
          <p:cNvCxnSpPr/>
          <p:nvPr/>
        </p:nvCxnSpPr>
        <p:spPr>
          <a:xfrm>
            <a:off x="1883630" y="3147788"/>
            <a:ext cx="9648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BD500C5-6197-4E7F-B1C8-6025FA5EEEF2}"/>
              </a:ext>
            </a:extLst>
          </p:cNvPr>
          <p:cNvCxnSpPr/>
          <p:nvPr/>
        </p:nvCxnSpPr>
        <p:spPr>
          <a:xfrm>
            <a:off x="3855820" y="4424900"/>
            <a:ext cx="767581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5556281" y="1507695"/>
            <a:ext cx="5975350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ge 107/2015, art. 1, comma 13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«Il Portale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stito dal Ministero dell'istruzione, dell'università e della ricerca, sentito il Garante per la protezione dei dati personali,</a:t>
            </a:r>
            <a:r>
              <a: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ende accessibili i dati del curriculum dello studente …»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631775" y="1597695"/>
            <a:ext cx="972000" cy="972000"/>
            <a:chOff x="631775" y="1864395"/>
            <a:chExt cx="972000" cy="97200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93FF493C-4A9C-4474-A1B1-B7483BA3D312}"/>
                </a:ext>
              </a:extLst>
            </p:cNvPr>
            <p:cNvSpPr/>
            <p:nvPr/>
          </p:nvSpPr>
          <p:spPr>
            <a:xfrm>
              <a:off x="631775" y="1864395"/>
              <a:ext cx="972000" cy="972000"/>
            </a:xfrm>
            <a:prstGeom prst="ellipse">
              <a:avLst/>
            </a:prstGeom>
            <a:solidFill>
              <a:srgbClr val="B7E0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5" name="Picture 4" descr="Icon&#10;&#10;Description automatically generated">
              <a:extLst>
                <a:ext uri="{FF2B5EF4-FFF2-40B4-BE49-F238E27FC236}">
                  <a16:creationId xmlns:a16="http://schemas.microsoft.com/office/drawing/2014/main" id="{F3145056-A554-4AE9-8EFC-8D00EDAE97C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3744" y="1975382"/>
              <a:ext cx="737316" cy="737316"/>
            </a:xfrm>
            <a:prstGeom prst="rect">
              <a:avLst/>
            </a:prstGeom>
          </p:spPr>
        </p:pic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2298472" y="1752959"/>
            <a:ext cx="2469875" cy="661473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CESSO AI DATI DEL CURRICULUM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556281" y="3062129"/>
            <a:ext cx="5975350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.lgs</a:t>
            </a: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62/2017 art. 21, comma 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«Al diploma è allegato il curriculum … </a:t>
            </a:r>
            <a:r>
              <a: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che ai fini dell’orientamento e dell’accesso al mondo del lavoro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»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631775" y="3233989"/>
            <a:ext cx="972000" cy="972000"/>
            <a:chOff x="631775" y="3366698"/>
            <a:chExt cx="972000" cy="97200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93FF493C-4A9C-4474-A1B1-B7483BA3D312}"/>
                </a:ext>
              </a:extLst>
            </p:cNvPr>
            <p:cNvSpPr/>
            <p:nvPr/>
          </p:nvSpPr>
          <p:spPr>
            <a:xfrm>
              <a:off x="631775" y="3366698"/>
              <a:ext cx="972000" cy="972000"/>
            </a:xfrm>
            <a:prstGeom prst="ellipse">
              <a:avLst/>
            </a:prstGeom>
            <a:solidFill>
              <a:srgbClr val="B7E0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8" name="Picture 27" descr="Icon&#10;&#10;Description automatically generated">
              <a:extLst>
                <a:ext uri="{FF2B5EF4-FFF2-40B4-BE49-F238E27FC236}">
                  <a16:creationId xmlns:a16="http://schemas.microsoft.com/office/drawing/2014/main" id="{06F257E5-8E6D-4D14-A6D9-BAA2F2677C5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2086" y="3494095"/>
              <a:ext cx="737316" cy="737316"/>
            </a:xfrm>
            <a:prstGeom prst="rect">
              <a:avLst/>
            </a:prstGeom>
          </p:spPr>
        </p:pic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2357427" y="3389253"/>
            <a:ext cx="2469875" cy="661473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CESSO AL MONDO DEL LAVORO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556281" y="4616564"/>
            <a:ext cx="5975350" cy="147943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creto del Ministro 6 agosto 2020, n. 88, comma 3</a:t>
            </a:r>
            <a:endParaRPr kumimoji="0" lang="it-IT" sz="1600" b="0" i="1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«Con decreto del Ministro dell’Istruzione sono disposte eventuali modifiche e implementazioni dei modelli di cui agli articoli 1 e 2, anche </a:t>
            </a:r>
            <a:r>
              <a: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considerazione dell’adozione del regolamento di cui all’articolo 1, comma 28, della legge n. 107 del 2015 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 con riferimento all’attuazione di quanto previsto all’articolo 1 comma 138 della predetta legge»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31775" y="4870282"/>
            <a:ext cx="972000" cy="972000"/>
            <a:chOff x="631775" y="4869001"/>
            <a:chExt cx="972000" cy="972000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3FF493C-4A9C-4474-A1B1-B7483BA3D312}"/>
                </a:ext>
              </a:extLst>
            </p:cNvPr>
            <p:cNvSpPr/>
            <p:nvPr/>
          </p:nvSpPr>
          <p:spPr>
            <a:xfrm>
              <a:off x="631775" y="4869001"/>
              <a:ext cx="972000" cy="972000"/>
            </a:xfrm>
            <a:prstGeom prst="ellipse">
              <a:avLst/>
            </a:prstGeom>
            <a:solidFill>
              <a:srgbClr val="B7E0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2" name="Picture 31" descr="Icon&#10;&#10;Description automatically generated">
              <a:extLst>
                <a:ext uri="{FF2B5EF4-FFF2-40B4-BE49-F238E27FC236}">
                  <a16:creationId xmlns:a16="http://schemas.microsoft.com/office/drawing/2014/main" id="{56AFD9E5-8358-478B-82B3-A02FD05E0FB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3744" y="4986343"/>
              <a:ext cx="737316" cy="737316"/>
            </a:xfrm>
            <a:prstGeom prst="rect">
              <a:avLst/>
            </a:prstGeom>
          </p:spPr>
        </p:pic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2357427" y="5025546"/>
            <a:ext cx="2469875" cy="661473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FILO DELLO STUDENTE E IDENTITÀ DIGITALE</a:t>
            </a:r>
          </a:p>
        </p:txBody>
      </p:sp>
    </p:spTree>
    <p:extLst>
      <p:ext uri="{BB962C8B-B14F-4D97-AF65-F5344CB8AC3E}">
        <p14:creationId xmlns:p14="http://schemas.microsoft.com/office/powerpoint/2010/main" val="28555761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37597E-228D-4789-A62F-80F07E1E04FA}"/>
              </a:ext>
            </a:extLst>
          </p:cNvPr>
          <p:cNvSpPr/>
          <p:nvPr/>
        </p:nvSpPr>
        <p:spPr>
          <a:xfrm>
            <a:off x="0" y="0"/>
            <a:ext cx="6095998" cy="6895021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F35BB9-EF1C-40A4-B712-C382C3941380}"/>
              </a:ext>
            </a:extLst>
          </p:cNvPr>
          <p:cNvSpPr/>
          <p:nvPr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9A6D697-F3B8-46B4-BB1D-DD080399DF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550858" y="2530461"/>
            <a:ext cx="6895020" cy="1804737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A8CCE68-CEB1-4DBD-B64A-05F58866373D}"/>
              </a:ext>
            </a:extLst>
          </p:cNvPr>
          <p:cNvSpPr/>
          <p:nvPr/>
        </p:nvSpPr>
        <p:spPr>
          <a:xfrm flipH="1">
            <a:off x="6318982" y="-35749"/>
            <a:ext cx="1565945" cy="6966518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9B8B768F-4202-4EBB-9ADC-D437EEF481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33071" y="934915"/>
            <a:ext cx="2453489" cy="89307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AB629E7-3D90-4130-BB5D-916C74E26078}"/>
              </a:ext>
            </a:extLst>
          </p:cNvPr>
          <p:cNvSpPr txBox="1"/>
          <p:nvPr/>
        </p:nvSpPr>
        <p:spPr>
          <a:xfrm>
            <a:off x="8048380" y="2079376"/>
            <a:ext cx="38197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3600" b="1" dirty="0">
                <a:solidFill>
                  <a:srgbClr val="179DC2"/>
                </a:solidFill>
                <a:latin typeface="Comfortaa" pitchFamily="2" charset="0"/>
                <a:sym typeface="Dosis Light"/>
              </a:rPr>
              <a:t>Agenda</a:t>
            </a:r>
          </a:p>
          <a:p>
            <a:pPr algn="r"/>
            <a:endParaRPr lang="en-US" sz="3600" b="1" dirty="0">
              <a:solidFill>
                <a:srgbClr val="179DC2"/>
              </a:solidFill>
              <a:latin typeface="Comfortaa" pitchFamily="2" charset="0"/>
              <a:sym typeface="Dosis Light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649EB0D-30E0-4254-92D5-CA0391CD20A3}"/>
              </a:ext>
            </a:extLst>
          </p:cNvPr>
          <p:cNvCxnSpPr>
            <a:cxnSpLocks/>
          </p:cNvCxnSpPr>
          <p:nvPr/>
        </p:nvCxnSpPr>
        <p:spPr>
          <a:xfrm>
            <a:off x="8237989" y="1943501"/>
            <a:ext cx="3548571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D253483-0DD0-4C97-A1F3-1A53DBDDB47A}"/>
              </a:ext>
            </a:extLst>
          </p:cNvPr>
          <p:cNvCxnSpPr/>
          <p:nvPr/>
        </p:nvCxnSpPr>
        <p:spPr>
          <a:xfrm>
            <a:off x="1115630" y="0"/>
            <a:ext cx="0" cy="684000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6FDB52C2-7E92-42C3-8F28-6AB3B6D9A565}"/>
              </a:ext>
            </a:extLst>
          </p:cNvPr>
          <p:cNvSpPr/>
          <p:nvPr/>
        </p:nvSpPr>
        <p:spPr>
          <a:xfrm>
            <a:off x="767726" y="1031171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0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C0F13CB-0E49-4DDD-B2B1-52E48A435425}"/>
              </a:ext>
            </a:extLst>
          </p:cNvPr>
          <p:cNvSpPr/>
          <p:nvPr/>
        </p:nvSpPr>
        <p:spPr>
          <a:xfrm>
            <a:off x="767726" y="2750088"/>
            <a:ext cx="684000" cy="684000"/>
          </a:xfrm>
          <a:prstGeom prst="ellipse">
            <a:avLst/>
          </a:prstGeom>
          <a:solidFill>
            <a:srgbClr val="AB244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DC658E9-C935-45D4-9FA4-5F4F47F66463}"/>
              </a:ext>
            </a:extLst>
          </p:cNvPr>
          <p:cNvSpPr/>
          <p:nvPr/>
        </p:nvSpPr>
        <p:spPr>
          <a:xfrm>
            <a:off x="767726" y="4469004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84E30F9-4F92-4B34-8893-462FF23256A8}"/>
              </a:ext>
            </a:extLst>
          </p:cNvPr>
          <p:cNvSpPr txBox="1"/>
          <p:nvPr/>
        </p:nvSpPr>
        <p:spPr>
          <a:xfrm>
            <a:off x="1592061" y="1096172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Il Curriculum dello studente</a:t>
            </a:r>
          </a:p>
          <a:p>
            <a:r>
              <a:rPr lang="it-IT" sz="1200" dirty="0">
                <a:solidFill>
                  <a:schemeClr val="tx2"/>
                </a:solidFill>
              </a:rPr>
              <a:t>Valore, struttura e riferimenti normativi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1F6BAE7-68BB-4399-BA0B-B1A35B6735D3}"/>
              </a:ext>
            </a:extLst>
          </p:cNvPr>
          <p:cNvSpPr txBox="1"/>
          <p:nvPr/>
        </p:nvSpPr>
        <p:spPr>
          <a:xfrm>
            <a:off x="1592061" y="2815089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Il processo di realizzazione</a:t>
            </a:r>
          </a:p>
          <a:p>
            <a:r>
              <a:rPr lang="it-IT" sz="1200" dirty="0">
                <a:solidFill>
                  <a:schemeClr val="bg1"/>
                </a:solidFill>
              </a:rPr>
              <a:t>Le attività previs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98FBB9B-1226-4C09-9AFC-ED406DFADFEB}"/>
              </a:ext>
            </a:extLst>
          </p:cNvPr>
          <p:cNvSpPr txBox="1"/>
          <p:nvPr/>
        </p:nvSpPr>
        <p:spPr>
          <a:xfrm>
            <a:off x="1592060" y="4307465"/>
            <a:ext cx="45039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L’introduzione del Curriculum nell’anno scolastico 2020/21</a:t>
            </a:r>
          </a:p>
          <a:p>
            <a:r>
              <a:rPr lang="it-IT" sz="1200" dirty="0">
                <a:solidFill>
                  <a:schemeClr val="tx2"/>
                </a:solidFill>
              </a:rPr>
              <a:t>Le operazioni da svolgere e gli strumenti di accompagnamento </a:t>
            </a:r>
          </a:p>
        </p:txBody>
      </p:sp>
    </p:spTree>
    <p:extLst>
      <p:ext uri="{BB962C8B-B14F-4D97-AF65-F5344CB8AC3E}">
        <p14:creationId xmlns:p14="http://schemas.microsoft.com/office/powerpoint/2010/main" val="39547741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545135F8-D4BB-4860-ADCF-B6669FF493AE}"/>
              </a:ext>
            </a:extLst>
          </p:cNvPr>
          <p:cNvSpPr/>
          <p:nvPr/>
        </p:nvSpPr>
        <p:spPr>
          <a:xfrm>
            <a:off x="10117066" y="2145350"/>
            <a:ext cx="1626750" cy="353829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25073636-1F89-40F5-A906-6DCB1AF16119}"/>
              </a:ext>
            </a:extLst>
          </p:cNvPr>
          <p:cNvCxnSpPr>
            <a:cxnSpLocks/>
            <a:stCxn id="47" idx="6"/>
          </p:cNvCxnSpPr>
          <p:nvPr/>
        </p:nvCxnSpPr>
        <p:spPr>
          <a:xfrm>
            <a:off x="1728769" y="2622983"/>
            <a:ext cx="8392205" cy="0"/>
          </a:xfrm>
          <a:prstGeom prst="straightConnector1">
            <a:avLst/>
          </a:prstGeom>
          <a:ln w="28575">
            <a:solidFill>
              <a:srgbClr val="0083B8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133" y="522222"/>
            <a:ext cx="10254886" cy="1325563"/>
          </a:xfrm>
        </p:spPr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Le attività previste - le scuo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66CB66A-5998-4EB6-AD56-6F12A741DBBF}"/>
              </a:ext>
            </a:extLst>
          </p:cNvPr>
          <p:cNvSpPr txBox="1"/>
          <p:nvPr/>
        </p:nvSpPr>
        <p:spPr>
          <a:xfrm>
            <a:off x="693103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B65014D-6B90-4C9D-A4F6-8F81A7C970E8}"/>
              </a:ext>
            </a:extLst>
          </p:cNvPr>
          <p:cNvSpPr/>
          <p:nvPr/>
        </p:nvSpPr>
        <p:spPr>
          <a:xfrm>
            <a:off x="693103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ultazione e integrazione</a:t>
            </a:r>
            <a:endParaRPr lang="it-IT" sz="1400" b="1" i="0" dirty="0">
              <a:effectLst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CF953-A5B9-4DC6-A09E-3CDBCF6DD61D}"/>
              </a:ext>
            </a:extLst>
          </p:cNvPr>
          <p:cNvSpPr/>
          <p:nvPr/>
        </p:nvSpPr>
        <p:spPr>
          <a:xfrm>
            <a:off x="693104" y="4121901"/>
            <a:ext cx="1773238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egreterie scolastiche accedono al Curriculum dello studente, visualizzano le informazioni precaricate a sistema e possono apportare eventuali integrazioni</a:t>
            </a:r>
            <a:endParaRPr lang="en-US" sz="1300" dirty="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3D728CD-108F-4DBE-B99B-5C93434D0272}"/>
              </a:ext>
            </a:extLst>
          </p:cNvPr>
          <p:cNvSpPr txBox="1"/>
          <p:nvPr/>
        </p:nvSpPr>
        <p:spPr>
          <a:xfrm>
            <a:off x="2579558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1211A4B1-C385-4089-96C0-BBBD01AEB960}"/>
              </a:ext>
            </a:extLst>
          </p:cNvPr>
          <p:cNvSpPr/>
          <p:nvPr/>
        </p:nvSpPr>
        <p:spPr>
          <a:xfrm>
            <a:off x="2579558" y="3516559"/>
            <a:ext cx="19256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mpilazione</a:t>
            </a:r>
            <a:endParaRPr lang="it-IT" sz="1400" b="1" i="0" dirty="0">
              <a:effectLst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37A81E08-9253-4742-B4EA-744E1FC582C6}"/>
              </a:ext>
            </a:extLst>
          </p:cNvPr>
          <p:cNvSpPr/>
          <p:nvPr/>
        </p:nvSpPr>
        <p:spPr>
          <a:xfrm>
            <a:off x="2579559" y="4121901"/>
            <a:ext cx="1823588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Gli studenti accedono al Curriculum e compilano le parti di propria competenza, inserendo le informazioni sulle certificazioni conseguite e le attività extrascolastiche svolte</a:t>
            </a:r>
            <a:endParaRPr lang="en-US" sz="1300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981E4DF7-E057-45F1-9708-A32DA58EFC76}"/>
              </a:ext>
            </a:extLst>
          </p:cNvPr>
          <p:cNvSpPr txBox="1"/>
          <p:nvPr/>
        </p:nvSpPr>
        <p:spPr>
          <a:xfrm>
            <a:off x="4503664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4C3740F-565F-4E03-A671-4E779FB1C90C}"/>
              </a:ext>
            </a:extLst>
          </p:cNvPr>
          <p:cNvSpPr/>
          <p:nvPr/>
        </p:nvSpPr>
        <p:spPr>
          <a:xfrm>
            <a:off x="4503664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</a:t>
            </a:r>
            <a:r>
              <a:rPr lang="it-IT" sz="1400" b="1" dirty="0" err="1"/>
              <a:t>pre</a:t>
            </a:r>
            <a:r>
              <a:rPr lang="it-IT" sz="1400" b="1" dirty="0"/>
              <a:t>-esame</a:t>
            </a:r>
            <a:endParaRPr lang="it-IT" sz="1400" b="1" i="0" dirty="0">
              <a:effectLst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572C5FF2-631E-4D9A-8621-6C8AAFFC37DC}"/>
              </a:ext>
            </a:extLst>
          </p:cNvPr>
          <p:cNvSpPr/>
          <p:nvPr/>
        </p:nvSpPr>
        <p:spPr>
          <a:xfrm>
            <a:off x="4503665" y="4121901"/>
            <a:ext cx="1663142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cuole, prima dello svolgimento dell’esame di Stato, integrano il Curriculum con i dati relativi al credito scolastico</a:t>
            </a:r>
            <a:endParaRPr lang="en-US" sz="1300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E08F87C4-3FE9-4521-A99C-415DA110780B}"/>
              </a:ext>
            </a:extLst>
          </p:cNvPr>
          <p:cNvSpPr txBox="1"/>
          <p:nvPr/>
        </p:nvSpPr>
        <p:spPr>
          <a:xfrm>
            <a:off x="6445182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Commissioni d'esame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38430605-E51B-401C-959F-231A8857D0D2}"/>
              </a:ext>
            </a:extLst>
          </p:cNvPr>
          <p:cNvSpPr/>
          <p:nvPr/>
        </p:nvSpPr>
        <p:spPr>
          <a:xfrm>
            <a:off x="6445182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Visualizzazione durante l'esame</a:t>
            </a:r>
            <a:endParaRPr lang="it-IT" sz="1400" b="1" i="0" dirty="0">
              <a:effectLst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FE7CB47-4E9D-46E6-B057-DBA7F03FEE81}"/>
              </a:ext>
            </a:extLst>
          </p:cNvPr>
          <p:cNvSpPr/>
          <p:nvPr/>
        </p:nvSpPr>
        <p:spPr>
          <a:xfrm>
            <a:off x="6445183" y="4121901"/>
            <a:ext cx="1578599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commissioni d’esame tengono conto del Curriculum di ogni studente, in particolare in vista del colloquio</a:t>
            </a:r>
            <a:endParaRPr lang="en-US" sz="13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148DFBBE-ABFD-4C16-9C89-5FC1FC54D262}"/>
              </a:ext>
            </a:extLst>
          </p:cNvPr>
          <p:cNvSpPr txBox="1"/>
          <p:nvPr/>
        </p:nvSpPr>
        <p:spPr>
          <a:xfrm>
            <a:off x="8318937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2318292-361E-4FE7-A7FB-77B0C39D82D6}"/>
              </a:ext>
            </a:extLst>
          </p:cNvPr>
          <p:cNvSpPr/>
          <p:nvPr/>
        </p:nvSpPr>
        <p:spPr>
          <a:xfrm>
            <a:off x="8318937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post-esame</a:t>
            </a:r>
            <a:endParaRPr lang="it-IT" sz="1400" b="1" i="0" dirty="0">
              <a:effectLst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AAB4D4DC-E837-4841-B86E-C265B6B2BCC7}"/>
              </a:ext>
            </a:extLst>
          </p:cNvPr>
          <p:cNvSpPr/>
          <p:nvPr/>
        </p:nvSpPr>
        <p:spPr>
          <a:xfrm>
            <a:off x="8318938" y="4121901"/>
            <a:ext cx="1609732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Dopo l’esame di Stato il Curriculum viene arricchito con l’esito conseguito e collegato al diploma tramite il riferimento al suo numero</a:t>
            </a:r>
            <a:endParaRPr lang="en-US" sz="1300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2620AEF-CC2D-409F-AA2B-BA8A0750FB55}"/>
              </a:ext>
            </a:extLst>
          </p:cNvPr>
          <p:cNvGrpSpPr/>
          <p:nvPr/>
        </p:nvGrpSpPr>
        <p:grpSpPr>
          <a:xfrm>
            <a:off x="10313058" y="2245083"/>
            <a:ext cx="710860" cy="747909"/>
            <a:chOff x="10879478" y="2245083"/>
            <a:chExt cx="710860" cy="747909"/>
          </a:xfrm>
        </p:grpSpPr>
        <p:pic>
          <p:nvPicPr>
            <p:cNvPr id="100" name="Picture 99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3C456324-616B-418E-975E-ABA70CE8E6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207"/>
            <a:stretch/>
          </p:blipFill>
          <p:spPr>
            <a:xfrm>
              <a:off x="10879478" y="2245083"/>
              <a:ext cx="656548" cy="747909"/>
            </a:xfrm>
            <a:prstGeom prst="rect">
              <a:avLst/>
            </a:prstGeom>
          </p:spPr>
        </p:pic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23A8333B-96DD-41E1-AB32-897C0BBB71A6}"/>
                </a:ext>
              </a:extLst>
            </p:cNvPr>
            <p:cNvSpPr/>
            <p:nvPr/>
          </p:nvSpPr>
          <p:spPr>
            <a:xfrm>
              <a:off x="11288396" y="2406296"/>
              <a:ext cx="301942" cy="28462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C3DF64C3-27D4-472E-99CF-228E3AB6FBB1}"/>
              </a:ext>
            </a:extLst>
          </p:cNvPr>
          <p:cNvSpPr txBox="1"/>
          <p:nvPr/>
        </p:nvSpPr>
        <p:spPr>
          <a:xfrm>
            <a:off x="10183019" y="3206812"/>
            <a:ext cx="1368000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EC914D3D-8530-4F61-A083-57D96825CAB3}"/>
              </a:ext>
            </a:extLst>
          </p:cNvPr>
          <p:cNvSpPr/>
          <p:nvPr/>
        </p:nvSpPr>
        <p:spPr>
          <a:xfrm>
            <a:off x="10183020" y="3516559"/>
            <a:ext cx="148097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Acquisizione Curriculum</a:t>
            </a:r>
            <a:endParaRPr lang="it-IT" sz="1400" b="1" i="0" dirty="0">
              <a:effectLst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64728FCA-C8C1-40AE-9446-D6D2A31B962D}"/>
              </a:ext>
            </a:extLst>
          </p:cNvPr>
          <p:cNvSpPr/>
          <p:nvPr/>
        </p:nvSpPr>
        <p:spPr>
          <a:xfrm>
            <a:off x="10183019" y="4121901"/>
            <a:ext cx="1480978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Ogni studente diplomato ritrova il Curriculum definitivo all’interno della piattaforma</a:t>
            </a:r>
            <a:endParaRPr lang="en-US" sz="13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92E556F-6D03-45BD-BEFE-DCE2FF63885D}"/>
              </a:ext>
            </a:extLst>
          </p:cNvPr>
          <p:cNvGrpSpPr/>
          <p:nvPr/>
        </p:nvGrpSpPr>
        <p:grpSpPr>
          <a:xfrm>
            <a:off x="792769" y="2154983"/>
            <a:ext cx="936000" cy="936000"/>
            <a:chOff x="752129" y="2154983"/>
            <a:chExt cx="936000" cy="93600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823D12A-A18D-4946-8C72-38C5662FF92A}"/>
                </a:ext>
              </a:extLst>
            </p:cNvPr>
            <p:cNvSpPr/>
            <p:nvPr/>
          </p:nvSpPr>
          <p:spPr>
            <a:xfrm>
              <a:off x="81317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Donut 35">
              <a:extLst>
                <a:ext uri="{FF2B5EF4-FFF2-40B4-BE49-F238E27FC236}">
                  <a16:creationId xmlns:a16="http://schemas.microsoft.com/office/drawing/2014/main" id="{40341E75-9926-4E0F-B74A-3D8307DF9D99}"/>
                </a:ext>
              </a:extLst>
            </p:cNvPr>
            <p:cNvSpPr/>
            <p:nvPr/>
          </p:nvSpPr>
          <p:spPr>
            <a:xfrm>
              <a:off x="79282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Donut 36">
              <a:extLst>
                <a:ext uri="{FF2B5EF4-FFF2-40B4-BE49-F238E27FC236}">
                  <a16:creationId xmlns:a16="http://schemas.microsoft.com/office/drawing/2014/main" id="{5F0DC69F-6687-4873-9552-B2308E19FEE3}"/>
                </a:ext>
              </a:extLst>
            </p:cNvPr>
            <p:cNvSpPr/>
            <p:nvPr/>
          </p:nvSpPr>
          <p:spPr>
            <a:xfrm>
              <a:off x="75212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5" name="Picture 64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68FBC46C-BA0E-4732-881F-0796E268D5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0128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53176E8-8B47-4A54-AE90-A6BB560E423C}"/>
              </a:ext>
            </a:extLst>
          </p:cNvPr>
          <p:cNvGrpSpPr/>
          <p:nvPr/>
        </p:nvGrpSpPr>
        <p:grpSpPr>
          <a:xfrm>
            <a:off x="4563521" y="2154983"/>
            <a:ext cx="936000" cy="936000"/>
            <a:chOff x="4122299" y="2154983"/>
            <a:chExt cx="936000" cy="93600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B43937C7-8881-4BCF-A3C2-D4BE337D414E}"/>
                </a:ext>
              </a:extLst>
            </p:cNvPr>
            <p:cNvSpPr/>
            <p:nvPr/>
          </p:nvSpPr>
          <p:spPr>
            <a:xfrm>
              <a:off x="418334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Donut 143">
              <a:extLst>
                <a:ext uri="{FF2B5EF4-FFF2-40B4-BE49-F238E27FC236}">
                  <a16:creationId xmlns:a16="http://schemas.microsoft.com/office/drawing/2014/main" id="{0CDB8357-1119-4456-9A0B-28D415101691}"/>
                </a:ext>
              </a:extLst>
            </p:cNvPr>
            <p:cNvSpPr/>
            <p:nvPr/>
          </p:nvSpPr>
          <p:spPr>
            <a:xfrm>
              <a:off x="416299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Donut 144">
              <a:extLst>
                <a:ext uri="{FF2B5EF4-FFF2-40B4-BE49-F238E27FC236}">
                  <a16:creationId xmlns:a16="http://schemas.microsoft.com/office/drawing/2014/main" id="{5710313C-9689-4CBB-B798-7D717D2FBFB2}"/>
                </a:ext>
              </a:extLst>
            </p:cNvPr>
            <p:cNvSpPr/>
            <p:nvPr/>
          </p:nvSpPr>
          <p:spPr>
            <a:xfrm>
              <a:off x="412229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6" name="Picture 65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55314571-AFDC-4322-9E9B-0FAE87B80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0299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F7402BC-259D-42B5-BF70-139D1C6D67FF}"/>
              </a:ext>
            </a:extLst>
          </p:cNvPr>
          <p:cNvGrpSpPr/>
          <p:nvPr/>
        </p:nvGrpSpPr>
        <p:grpSpPr>
          <a:xfrm>
            <a:off x="8334274" y="2154983"/>
            <a:ext cx="936000" cy="936000"/>
            <a:chOff x="9177554" y="2154983"/>
            <a:chExt cx="936000" cy="93600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D1E82573-AEB7-42C7-8E7D-F46339788496}"/>
                </a:ext>
              </a:extLst>
            </p:cNvPr>
            <p:cNvSpPr/>
            <p:nvPr/>
          </p:nvSpPr>
          <p:spPr>
            <a:xfrm>
              <a:off x="9238597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Donut 167">
              <a:extLst>
                <a:ext uri="{FF2B5EF4-FFF2-40B4-BE49-F238E27FC236}">
                  <a16:creationId xmlns:a16="http://schemas.microsoft.com/office/drawing/2014/main" id="{1E518443-9DB0-4F2F-B744-2CACD0B83BAD}"/>
                </a:ext>
              </a:extLst>
            </p:cNvPr>
            <p:cNvSpPr/>
            <p:nvPr/>
          </p:nvSpPr>
          <p:spPr>
            <a:xfrm>
              <a:off x="9218250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Donut 168">
              <a:extLst>
                <a:ext uri="{FF2B5EF4-FFF2-40B4-BE49-F238E27FC236}">
                  <a16:creationId xmlns:a16="http://schemas.microsoft.com/office/drawing/2014/main" id="{3E9BCBE3-D938-4E42-B9EF-B76419ADF16F}"/>
                </a:ext>
              </a:extLst>
            </p:cNvPr>
            <p:cNvSpPr/>
            <p:nvPr/>
          </p:nvSpPr>
          <p:spPr>
            <a:xfrm>
              <a:off x="9177554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2" name="Picture 71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F68F2EF0-5F94-4124-AC8F-0D6F605D70D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75554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417AA789-B257-4BE1-AC7C-D16B63FD320A}"/>
              </a:ext>
            </a:extLst>
          </p:cNvPr>
          <p:cNvGrpSpPr/>
          <p:nvPr/>
        </p:nvGrpSpPr>
        <p:grpSpPr>
          <a:xfrm>
            <a:off x="2678145" y="2154982"/>
            <a:ext cx="936000" cy="943545"/>
            <a:chOff x="2437214" y="2154982"/>
            <a:chExt cx="936000" cy="943545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7AE3AE5B-FFAE-488B-96E8-E9FE4D143630}"/>
                </a:ext>
              </a:extLst>
            </p:cNvPr>
            <p:cNvSpPr/>
            <p:nvPr/>
          </p:nvSpPr>
          <p:spPr>
            <a:xfrm>
              <a:off x="2498257" y="2216518"/>
              <a:ext cx="813913" cy="820474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Donut 149">
              <a:extLst>
                <a:ext uri="{FF2B5EF4-FFF2-40B4-BE49-F238E27FC236}">
                  <a16:creationId xmlns:a16="http://schemas.microsoft.com/office/drawing/2014/main" id="{977752B8-3DFF-4704-BD27-EBCBE51056E7}"/>
                </a:ext>
              </a:extLst>
            </p:cNvPr>
            <p:cNvSpPr/>
            <p:nvPr/>
          </p:nvSpPr>
          <p:spPr>
            <a:xfrm>
              <a:off x="2477910" y="2196006"/>
              <a:ext cx="854609" cy="861498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Donut 150">
              <a:extLst>
                <a:ext uri="{FF2B5EF4-FFF2-40B4-BE49-F238E27FC236}">
                  <a16:creationId xmlns:a16="http://schemas.microsoft.com/office/drawing/2014/main" id="{1402688E-B5A9-4FD8-A12E-12F43D89DCC3}"/>
                </a:ext>
              </a:extLst>
            </p:cNvPr>
            <p:cNvSpPr/>
            <p:nvPr/>
          </p:nvSpPr>
          <p:spPr>
            <a:xfrm>
              <a:off x="2437214" y="2154982"/>
              <a:ext cx="936000" cy="943545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19056FC0-B19B-451F-A197-34F2541DD22F}"/>
                </a:ext>
              </a:extLst>
            </p:cNvPr>
            <p:cNvGrpSpPr/>
            <p:nvPr/>
          </p:nvGrpSpPr>
          <p:grpSpPr>
            <a:xfrm>
              <a:off x="2725810" y="2346180"/>
              <a:ext cx="358806" cy="539744"/>
              <a:chOff x="4148419" y="1868128"/>
              <a:chExt cx="358806" cy="539744"/>
            </a:xfrm>
          </p:grpSpPr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436CDFB2-35E8-4A26-948F-1200C275E88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1406" t="58006" r="16225"/>
              <a:stretch/>
            </p:blipFill>
            <p:spPr>
              <a:xfrm>
                <a:off x="4148419" y="2166374"/>
                <a:ext cx="358669" cy="241498"/>
              </a:xfrm>
              <a:prstGeom prst="rect">
                <a:avLst/>
              </a:prstGeom>
            </p:spPr>
          </p:pic>
          <p:pic>
            <p:nvPicPr>
              <p:cNvPr id="75" name="Picture 74">
                <a:extLst>
                  <a:ext uri="{FF2B5EF4-FFF2-40B4-BE49-F238E27FC236}">
                    <a16:creationId xmlns:a16="http://schemas.microsoft.com/office/drawing/2014/main" id="{E970A611-6658-4041-982D-A997475DBD3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9906" t="6144" r="16225" b="41709"/>
              <a:stretch/>
            </p:blipFill>
            <p:spPr>
              <a:xfrm>
                <a:off x="4197439" y="1868128"/>
                <a:ext cx="309786" cy="299885"/>
              </a:xfrm>
              <a:prstGeom prst="rect">
                <a:avLst/>
              </a:prstGeom>
            </p:spPr>
          </p:pic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F23A6AE-9272-4233-AC8F-2A75B4D5F413}"/>
              </a:ext>
            </a:extLst>
          </p:cNvPr>
          <p:cNvGrpSpPr/>
          <p:nvPr/>
        </p:nvGrpSpPr>
        <p:grpSpPr>
          <a:xfrm>
            <a:off x="6448897" y="2154983"/>
            <a:ext cx="936000" cy="936000"/>
            <a:chOff x="6608549" y="2154983"/>
            <a:chExt cx="936000" cy="936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58B414E2-A075-436D-ABE7-5F9637B6034E}"/>
                </a:ext>
              </a:extLst>
            </p:cNvPr>
            <p:cNvSpPr/>
            <p:nvPr/>
          </p:nvSpPr>
          <p:spPr>
            <a:xfrm>
              <a:off x="666959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Donut 161">
              <a:extLst>
                <a:ext uri="{FF2B5EF4-FFF2-40B4-BE49-F238E27FC236}">
                  <a16:creationId xmlns:a16="http://schemas.microsoft.com/office/drawing/2014/main" id="{ACCEF2FF-A2DD-4CC8-925A-F8F2D005292A}"/>
                </a:ext>
              </a:extLst>
            </p:cNvPr>
            <p:cNvSpPr/>
            <p:nvPr/>
          </p:nvSpPr>
          <p:spPr>
            <a:xfrm>
              <a:off x="664924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Donut 162">
              <a:extLst>
                <a:ext uri="{FF2B5EF4-FFF2-40B4-BE49-F238E27FC236}">
                  <a16:creationId xmlns:a16="http://schemas.microsoft.com/office/drawing/2014/main" id="{C4F122CF-A85A-4C1C-9721-16ECF7206BF1}"/>
                </a:ext>
              </a:extLst>
            </p:cNvPr>
            <p:cNvSpPr/>
            <p:nvPr/>
          </p:nvSpPr>
          <p:spPr>
            <a:xfrm>
              <a:off x="660854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2" name="Picture 81" descr="Icon&#10;&#10;Description automatically generated">
              <a:extLst>
                <a:ext uri="{FF2B5EF4-FFF2-40B4-BE49-F238E27FC236}">
                  <a16:creationId xmlns:a16="http://schemas.microsoft.com/office/drawing/2014/main" id="{2A8DA1B1-6D01-4F44-BAD1-1AC01CAB583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06549" y="2352983"/>
              <a:ext cx="540000" cy="540000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87DB7B61-FE12-4C6E-9458-C6B52D5F7849}"/>
              </a:ext>
            </a:extLst>
          </p:cNvPr>
          <p:cNvSpPr/>
          <p:nvPr/>
        </p:nvSpPr>
        <p:spPr>
          <a:xfrm>
            <a:off x="2514518" y="3225652"/>
            <a:ext cx="1917250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F6383DCF-04E4-41C8-9FCF-58F0B5F67CEA}"/>
              </a:ext>
            </a:extLst>
          </p:cNvPr>
          <p:cNvSpPr/>
          <p:nvPr/>
        </p:nvSpPr>
        <p:spPr>
          <a:xfrm>
            <a:off x="6284247" y="3149980"/>
            <a:ext cx="1917250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B2ED1F81-56C1-4C72-9B48-DBE374B14637}"/>
              </a:ext>
            </a:extLst>
          </p:cNvPr>
          <p:cNvSpPr/>
          <p:nvPr/>
        </p:nvSpPr>
        <p:spPr>
          <a:xfrm>
            <a:off x="10118231" y="2033832"/>
            <a:ext cx="1676051" cy="3780829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6877D9B-9638-445A-924C-79F722CACA8E}"/>
              </a:ext>
            </a:extLst>
          </p:cNvPr>
          <p:cNvSpPr/>
          <p:nvPr/>
        </p:nvSpPr>
        <p:spPr>
          <a:xfrm>
            <a:off x="2678145" y="2145350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DC3FDCB3-DBCF-42B2-A122-466490F5CBE2}"/>
              </a:ext>
            </a:extLst>
          </p:cNvPr>
          <p:cNvSpPr/>
          <p:nvPr/>
        </p:nvSpPr>
        <p:spPr>
          <a:xfrm>
            <a:off x="6418524" y="2155698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80580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545135F8-D4BB-4860-ADCF-B6669FF493AE}"/>
              </a:ext>
            </a:extLst>
          </p:cNvPr>
          <p:cNvSpPr/>
          <p:nvPr/>
        </p:nvSpPr>
        <p:spPr>
          <a:xfrm>
            <a:off x="10117066" y="2145350"/>
            <a:ext cx="1626750" cy="353829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25073636-1F89-40F5-A906-6DCB1AF16119}"/>
              </a:ext>
            </a:extLst>
          </p:cNvPr>
          <p:cNvCxnSpPr>
            <a:cxnSpLocks/>
            <a:stCxn id="47" idx="6"/>
          </p:cNvCxnSpPr>
          <p:nvPr/>
        </p:nvCxnSpPr>
        <p:spPr>
          <a:xfrm>
            <a:off x="1728769" y="2622983"/>
            <a:ext cx="8392205" cy="0"/>
          </a:xfrm>
          <a:prstGeom prst="straightConnector1">
            <a:avLst/>
          </a:prstGeom>
          <a:ln w="28575">
            <a:solidFill>
              <a:srgbClr val="0083B8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Le attività previste - gli studenti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66CB66A-5998-4EB6-AD56-6F12A741DBBF}"/>
              </a:ext>
            </a:extLst>
          </p:cNvPr>
          <p:cNvSpPr txBox="1"/>
          <p:nvPr/>
        </p:nvSpPr>
        <p:spPr>
          <a:xfrm>
            <a:off x="693103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B65014D-6B90-4C9D-A4F6-8F81A7C970E8}"/>
              </a:ext>
            </a:extLst>
          </p:cNvPr>
          <p:cNvSpPr/>
          <p:nvPr/>
        </p:nvSpPr>
        <p:spPr>
          <a:xfrm>
            <a:off x="693103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ultazione e integrazione</a:t>
            </a:r>
            <a:endParaRPr lang="it-IT" sz="1400" b="1" i="0" dirty="0">
              <a:effectLst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CF953-A5B9-4DC6-A09E-3CDBCF6DD61D}"/>
              </a:ext>
            </a:extLst>
          </p:cNvPr>
          <p:cNvSpPr/>
          <p:nvPr/>
        </p:nvSpPr>
        <p:spPr>
          <a:xfrm>
            <a:off x="693104" y="4121901"/>
            <a:ext cx="1773238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egreterie scolastiche accedono al Curriculum dello studente, visualizzano le informazioni precaricate a sistema e possono apportare eventuali integrazioni</a:t>
            </a:r>
            <a:endParaRPr lang="en-US" sz="1300" dirty="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3D728CD-108F-4DBE-B99B-5C93434D0272}"/>
              </a:ext>
            </a:extLst>
          </p:cNvPr>
          <p:cNvSpPr txBox="1"/>
          <p:nvPr/>
        </p:nvSpPr>
        <p:spPr>
          <a:xfrm>
            <a:off x="2579558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1211A4B1-C385-4089-96C0-BBBD01AEB960}"/>
              </a:ext>
            </a:extLst>
          </p:cNvPr>
          <p:cNvSpPr/>
          <p:nvPr/>
        </p:nvSpPr>
        <p:spPr>
          <a:xfrm>
            <a:off x="2579558" y="3516559"/>
            <a:ext cx="19256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mpilazione</a:t>
            </a:r>
            <a:endParaRPr lang="it-IT" sz="1400" b="1" i="0" dirty="0">
              <a:effectLst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37A81E08-9253-4742-B4EA-744E1FC582C6}"/>
              </a:ext>
            </a:extLst>
          </p:cNvPr>
          <p:cNvSpPr/>
          <p:nvPr/>
        </p:nvSpPr>
        <p:spPr>
          <a:xfrm>
            <a:off x="2579559" y="4121901"/>
            <a:ext cx="1823588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Gli studenti accedono al Curriculum e compilano le parti di propria competenza, inserendo le informazioni sulle certificazioni conseguite e le attività extrascolastiche svolte</a:t>
            </a:r>
            <a:endParaRPr lang="en-US" sz="1300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981E4DF7-E057-45F1-9708-A32DA58EFC76}"/>
              </a:ext>
            </a:extLst>
          </p:cNvPr>
          <p:cNvSpPr txBox="1"/>
          <p:nvPr/>
        </p:nvSpPr>
        <p:spPr>
          <a:xfrm>
            <a:off x="4503664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4C3740F-565F-4E03-A671-4E779FB1C90C}"/>
              </a:ext>
            </a:extLst>
          </p:cNvPr>
          <p:cNvSpPr/>
          <p:nvPr/>
        </p:nvSpPr>
        <p:spPr>
          <a:xfrm>
            <a:off x="4503664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</a:t>
            </a:r>
            <a:r>
              <a:rPr lang="it-IT" sz="1400" b="1" dirty="0" err="1"/>
              <a:t>pre</a:t>
            </a:r>
            <a:r>
              <a:rPr lang="it-IT" sz="1400" b="1" dirty="0"/>
              <a:t>-esame</a:t>
            </a:r>
            <a:endParaRPr lang="it-IT" sz="1400" b="1" i="0" dirty="0">
              <a:effectLst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572C5FF2-631E-4D9A-8621-6C8AAFFC37DC}"/>
              </a:ext>
            </a:extLst>
          </p:cNvPr>
          <p:cNvSpPr/>
          <p:nvPr/>
        </p:nvSpPr>
        <p:spPr>
          <a:xfrm>
            <a:off x="4503665" y="4121901"/>
            <a:ext cx="1663142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cuole, prima dello svolgimento dell’esame di Stato, integrano il Curriculum con i dati relativi al credito scolastico</a:t>
            </a:r>
            <a:endParaRPr lang="en-US" sz="1300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E08F87C4-3FE9-4521-A99C-415DA110780B}"/>
              </a:ext>
            </a:extLst>
          </p:cNvPr>
          <p:cNvSpPr txBox="1"/>
          <p:nvPr/>
        </p:nvSpPr>
        <p:spPr>
          <a:xfrm>
            <a:off x="6445182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Commissioni d'esame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38430605-E51B-401C-959F-231A8857D0D2}"/>
              </a:ext>
            </a:extLst>
          </p:cNvPr>
          <p:cNvSpPr/>
          <p:nvPr/>
        </p:nvSpPr>
        <p:spPr>
          <a:xfrm>
            <a:off x="6445182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Visualizzazione durante l'esame</a:t>
            </a:r>
            <a:endParaRPr lang="it-IT" sz="1400" b="1" i="0" dirty="0">
              <a:effectLst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FE7CB47-4E9D-46E6-B057-DBA7F03FEE81}"/>
              </a:ext>
            </a:extLst>
          </p:cNvPr>
          <p:cNvSpPr/>
          <p:nvPr/>
        </p:nvSpPr>
        <p:spPr>
          <a:xfrm>
            <a:off x="6445183" y="4121901"/>
            <a:ext cx="1578599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commissioni d’esame tengono conto del Curriculum di ogni studente, in particolare in vista del colloquio</a:t>
            </a:r>
            <a:endParaRPr lang="en-US" sz="13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148DFBBE-ABFD-4C16-9C89-5FC1FC54D262}"/>
              </a:ext>
            </a:extLst>
          </p:cNvPr>
          <p:cNvSpPr txBox="1"/>
          <p:nvPr/>
        </p:nvSpPr>
        <p:spPr>
          <a:xfrm>
            <a:off x="8318937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2318292-361E-4FE7-A7FB-77B0C39D82D6}"/>
              </a:ext>
            </a:extLst>
          </p:cNvPr>
          <p:cNvSpPr/>
          <p:nvPr/>
        </p:nvSpPr>
        <p:spPr>
          <a:xfrm>
            <a:off x="8318937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post-esame</a:t>
            </a:r>
            <a:endParaRPr lang="it-IT" sz="1400" b="1" i="0" dirty="0">
              <a:effectLst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AAB4D4DC-E837-4841-B86E-C265B6B2BCC7}"/>
              </a:ext>
            </a:extLst>
          </p:cNvPr>
          <p:cNvSpPr/>
          <p:nvPr/>
        </p:nvSpPr>
        <p:spPr>
          <a:xfrm>
            <a:off x="8318938" y="4121901"/>
            <a:ext cx="1609732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Dopo l’esame di Stato il Curriculum viene arricchito con l’esito conseguito e collegato al diploma tramite il riferimento al suo numero</a:t>
            </a:r>
            <a:endParaRPr lang="en-US" sz="1300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2620AEF-CC2D-409F-AA2B-BA8A0750FB55}"/>
              </a:ext>
            </a:extLst>
          </p:cNvPr>
          <p:cNvGrpSpPr/>
          <p:nvPr/>
        </p:nvGrpSpPr>
        <p:grpSpPr>
          <a:xfrm>
            <a:off x="10313058" y="2245083"/>
            <a:ext cx="710860" cy="747909"/>
            <a:chOff x="10879478" y="2245083"/>
            <a:chExt cx="710860" cy="747909"/>
          </a:xfrm>
        </p:grpSpPr>
        <p:pic>
          <p:nvPicPr>
            <p:cNvPr id="100" name="Picture 99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3C456324-616B-418E-975E-ABA70CE8E6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207"/>
            <a:stretch/>
          </p:blipFill>
          <p:spPr>
            <a:xfrm>
              <a:off x="10879478" y="2245083"/>
              <a:ext cx="656548" cy="747909"/>
            </a:xfrm>
            <a:prstGeom prst="rect">
              <a:avLst/>
            </a:prstGeom>
          </p:spPr>
        </p:pic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23A8333B-96DD-41E1-AB32-897C0BBB71A6}"/>
                </a:ext>
              </a:extLst>
            </p:cNvPr>
            <p:cNvSpPr/>
            <p:nvPr/>
          </p:nvSpPr>
          <p:spPr>
            <a:xfrm>
              <a:off x="11288396" y="2406296"/>
              <a:ext cx="301942" cy="28462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C3DF64C3-27D4-472E-99CF-228E3AB6FBB1}"/>
              </a:ext>
            </a:extLst>
          </p:cNvPr>
          <p:cNvSpPr txBox="1"/>
          <p:nvPr/>
        </p:nvSpPr>
        <p:spPr>
          <a:xfrm>
            <a:off x="10183019" y="3206812"/>
            <a:ext cx="1368000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EC914D3D-8530-4F61-A083-57D96825CAB3}"/>
              </a:ext>
            </a:extLst>
          </p:cNvPr>
          <p:cNvSpPr/>
          <p:nvPr/>
        </p:nvSpPr>
        <p:spPr>
          <a:xfrm>
            <a:off x="10183020" y="3516559"/>
            <a:ext cx="148097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Acquisizione Curriculum</a:t>
            </a:r>
            <a:endParaRPr lang="it-IT" sz="1400" b="1" i="0" dirty="0">
              <a:effectLst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64728FCA-C8C1-40AE-9446-D6D2A31B962D}"/>
              </a:ext>
            </a:extLst>
          </p:cNvPr>
          <p:cNvSpPr/>
          <p:nvPr/>
        </p:nvSpPr>
        <p:spPr>
          <a:xfrm>
            <a:off x="10183019" y="4121901"/>
            <a:ext cx="1480978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Ogni studente diplomato ritrova il Curriculum definitivo all’interno della piattaforma</a:t>
            </a:r>
            <a:endParaRPr lang="en-US" sz="13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92E556F-6D03-45BD-BEFE-DCE2FF63885D}"/>
              </a:ext>
            </a:extLst>
          </p:cNvPr>
          <p:cNvGrpSpPr/>
          <p:nvPr/>
        </p:nvGrpSpPr>
        <p:grpSpPr>
          <a:xfrm>
            <a:off x="792769" y="2154983"/>
            <a:ext cx="936000" cy="936000"/>
            <a:chOff x="752129" y="2154983"/>
            <a:chExt cx="936000" cy="93600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823D12A-A18D-4946-8C72-38C5662FF92A}"/>
                </a:ext>
              </a:extLst>
            </p:cNvPr>
            <p:cNvSpPr/>
            <p:nvPr/>
          </p:nvSpPr>
          <p:spPr>
            <a:xfrm>
              <a:off x="81317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Donut 35">
              <a:extLst>
                <a:ext uri="{FF2B5EF4-FFF2-40B4-BE49-F238E27FC236}">
                  <a16:creationId xmlns:a16="http://schemas.microsoft.com/office/drawing/2014/main" id="{40341E75-9926-4E0F-B74A-3D8307DF9D99}"/>
                </a:ext>
              </a:extLst>
            </p:cNvPr>
            <p:cNvSpPr/>
            <p:nvPr/>
          </p:nvSpPr>
          <p:spPr>
            <a:xfrm>
              <a:off x="79282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Donut 36">
              <a:extLst>
                <a:ext uri="{FF2B5EF4-FFF2-40B4-BE49-F238E27FC236}">
                  <a16:creationId xmlns:a16="http://schemas.microsoft.com/office/drawing/2014/main" id="{5F0DC69F-6687-4873-9552-B2308E19FEE3}"/>
                </a:ext>
              </a:extLst>
            </p:cNvPr>
            <p:cNvSpPr/>
            <p:nvPr/>
          </p:nvSpPr>
          <p:spPr>
            <a:xfrm>
              <a:off x="75212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5" name="Picture 64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68FBC46C-BA0E-4732-881F-0796E268D5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0128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53176E8-8B47-4A54-AE90-A6BB560E423C}"/>
              </a:ext>
            </a:extLst>
          </p:cNvPr>
          <p:cNvGrpSpPr/>
          <p:nvPr/>
        </p:nvGrpSpPr>
        <p:grpSpPr>
          <a:xfrm>
            <a:off x="4563521" y="2154983"/>
            <a:ext cx="936000" cy="936000"/>
            <a:chOff x="4122299" y="2154983"/>
            <a:chExt cx="936000" cy="93600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B43937C7-8881-4BCF-A3C2-D4BE337D414E}"/>
                </a:ext>
              </a:extLst>
            </p:cNvPr>
            <p:cNvSpPr/>
            <p:nvPr/>
          </p:nvSpPr>
          <p:spPr>
            <a:xfrm>
              <a:off x="418334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Donut 143">
              <a:extLst>
                <a:ext uri="{FF2B5EF4-FFF2-40B4-BE49-F238E27FC236}">
                  <a16:creationId xmlns:a16="http://schemas.microsoft.com/office/drawing/2014/main" id="{0CDB8357-1119-4456-9A0B-28D415101691}"/>
                </a:ext>
              </a:extLst>
            </p:cNvPr>
            <p:cNvSpPr/>
            <p:nvPr/>
          </p:nvSpPr>
          <p:spPr>
            <a:xfrm>
              <a:off x="416299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Donut 144">
              <a:extLst>
                <a:ext uri="{FF2B5EF4-FFF2-40B4-BE49-F238E27FC236}">
                  <a16:creationId xmlns:a16="http://schemas.microsoft.com/office/drawing/2014/main" id="{5710313C-9689-4CBB-B798-7D717D2FBFB2}"/>
                </a:ext>
              </a:extLst>
            </p:cNvPr>
            <p:cNvSpPr/>
            <p:nvPr/>
          </p:nvSpPr>
          <p:spPr>
            <a:xfrm>
              <a:off x="412229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6" name="Picture 65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55314571-AFDC-4322-9E9B-0FAE87B80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0299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F7402BC-259D-42B5-BF70-139D1C6D67FF}"/>
              </a:ext>
            </a:extLst>
          </p:cNvPr>
          <p:cNvGrpSpPr/>
          <p:nvPr/>
        </p:nvGrpSpPr>
        <p:grpSpPr>
          <a:xfrm>
            <a:off x="8334274" y="2154983"/>
            <a:ext cx="936000" cy="936000"/>
            <a:chOff x="9177554" y="2154983"/>
            <a:chExt cx="936000" cy="93600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D1E82573-AEB7-42C7-8E7D-F46339788496}"/>
                </a:ext>
              </a:extLst>
            </p:cNvPr>
            <p:cNvSpPr/>
            <p:nvPr/>
          </p:nvSpPr>
          <p:spPr>
            <a:xfrm>
              <a:off x="9238597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Donut 167">
              <a:extLst>
                <a:ext uri="{FF2B5EF4-FFF2-40B4-BE49-F238E27FC236}">
                  <a16:creationId xmlns:a16="http://schemas.microsoft.com/office/drawing/2014/main" id="{1E518443-9DB0-4F2F-B744-2CACD0B83BAD}"/>
                </a:ext>
              </a:extLst>
            </p:cNvPr>
            <p:cNvSpPr/>
            <p:nvPr/>
          </p:nvSpPr>
          <p:spPr>
            <a:xfrm>
              <a:off x="9218250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Donut 168">
              <a:extLst>
                <a:ext uri="{FF2B5EF4-FFF2-40B4-BE49-F238E27FC236}">
                  <a16:creationId xmlns:a16="http://schemas.microsoft.com/office/drawing/2014/main" id="{3E9BCBE3-D938-4E42-B9EF-B76419ADF16F}"/>
                </a:ext>
              </a:extLst>
            </p:cNvPr>
            <p:cNvSpPr/>
            <p:nvPr/>
          </p:nvSpPr>
          <p:spPr>
            <a:xfrm>
              <a:off x="9177554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2" name="Picture 71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F68F2EF0-5F94-4124-AC8F-0D6F605D70D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75554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417AA789-B257-4BE1-AC7C-D16B63FD320A}"/>
              </a:ext>
            </a:extLst>
          </p:cNvPr>
          <p:cNvGrpSpPr/>
          <p:nvPr/>
        </p:nvGrpSpPr>
        <p:grpSpPr>
          <a:xfrm>
            <a:off x="2678145" y="2154982"/>
            <a:ext cx="936000" cy="943545"/>
            <a:chOff x="2437214" y="2154982"/>
            <a:chExt cx="936000" cy="943545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7AE3AE5B-FFAE-488B-96E8-E9FE4D143630}"/>
                </a:ext>
              </a:extLst>
            </p:cNvPr>
            <p:cNvSpPr/>
            <p:nvPr/>
          </p:nvSpPr>
          <p:spPr>
            <a:xfrm>
              <a:off x="2498257" y="2216518"/>
              <a:ext cx="813913" cy="820474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Donut 149">
              <a:extLst>
                <a:ext uri="{FF2B5EF4-FFF2-40B4-BE49-F238E27FC236}">
                  <a16:creationId xmlns:a16="http://schemas.microsoft.com/office/drawing/2014/main" id="{977752B8-3DFF-4704-BD27-EBCBE51056E7}"/>
                </a:ext>
              </a:extLst>
            </p:cNvPr>
            <p:cNvSpPr/>
            <p:nvPr/>
          </p:nvSpPr>
          <p:spPr>
            <a:xfrm>
              <a:off x="2477910" y="2196006"/>
              <a:ext cx="854609" cy="861498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Donut 150">
              <a:extLst>
                <a:ext uri="{FF2B5EF4-FFF2-40B4-BE49-F238E27FC236}">
                  <a16:creationId xmlns:a16="http://schemas.microsoft.com/office/drawing/2014/main" id="{1402688E-B5A9-4FD8-A12E-12F43D89DCC3}"/>
                </a:ext>
              </a:extLst>
            </p:cNvPr>
            <p:cNvSpPr/>
            <p:nvPr/>
          </p:nvSpPr>
          <p:spPr>
            <a:xfrm>
              <a:off x="2437214" y="2154982"/>
              <a:ext cx="936000" cy="943545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19056FC0-B19B-451F-A197-34F2541DD22F}"/>
                </a:ext>
              </a:extLst>
            </p:cNvPr>
            <p:cNvGrpSpPr/>
            <p:nvPr/>
          </p:nvGrpSpPr>
          <p:grpSpPr>
            <a:xfrm>
              <a:off x="2725810" y="2346180"/>
              <a:ext cx="358806" cy="539744"/>
              <a:chOff x="4148419" y="1868128"/>
              <a:chExt cx="358806" cy="539744"/>
            </a:xfrm>
          </p:grpSpPr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436CDFB2-35E8-4A26-948F-1200C275E88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1406" t="58006" r="16225"/>
              <a:stretch/>
            </p:blipFill>
            <p:spPr>
              <a:xfrm>
                <a:off x="4148419" y="2166374"/>
                <a:ext cx="358669" cy="241498"/>
              </a:xfrm>
              <a:prstGeom prst="rect">
                <a:avLst/>
              </a:prstGeom>
            </p:spPr>
          </p:pic>
          <p:pic>
            <p:nvPicPr>
              <p:cNvPr id="75" name="Picture 74">
                <a:extLst>
                  <a:ext uri="{FF2B5EF4-FFF2-40B4-BE49-F238E27FC236}">
                    <a16:creationId xmlns:a16="http://schemas.microsoft.com/office/drawing/2014/main" id="{E970A611-6658-4041-982D-A997475DBD3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9906" t="6144" r="16225" b="41709"/>
              <a:stretch/>
            </p:blipFill>
            <p:spPr>
              <a:xfrm>
                <a:off x="4197439" y="1868128"/>
                <a:ext cx="309786" cy="299885"/>
              </a:xfrm>
              <a:prstGeom prst="rect">
                <a:avLst/>
              </a:prstGeom>
            </p:spPr>
          </p:pic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F23A6AE-9272-4233-AC8F-2A75B4D5F413}"/>
              </a:ext>
            </a:extLst>
          </p:cNvPr>
          <p:cNvGrpSpPr/>
          <p:nvPr/>
        </p:nvGrpSpPr>
        <p:grpSpPr>
          <a:xfrm>
            <a:off x="6448897" y="2154983"/>
            <a:ext cx="936000" cy="936000"/>
            <a:chOff x="6608549" y="2154983"/>
            <a:chExt cx="936000" cy="936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58B414E2-A075-436D-ABE7-5F9637B6034E}"/>
                </a:ext>
              </a:extLst>
            </p:cNvPr>
            <p:cNvSpPr/>
            <p:nvPr/>
          </p:nvSpPr>
          <p:spPr>
            <a:xfrm>
              <a:off x="666959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Donut 161">
              <a:extLst>
                <a:ext uri="{FF2B5EF4-FFF2-40B4-BE49-F238E27FC236}">
                  <a16:creationId xmlns:a16="http://schemas.microsoft.com/office/drawing/2014/main" id="{ACCEF2FF-A2DD-4CC8-925A-F8F2D005292A}"/>
                </a:ext>
              </a:extLst>
            </p:cNvPr>
            <p:cNvSpPr/>
            <p:nvPr/>
          </p:nvSpPr>
          <p:spPr>
            <a:xfrm>
              <a:off x="664924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Donut 162">
              <a:extLst>
                <a:ext uri="{FF2B5EF4-FFF2-40B4-BE49-F238E27FC236}">
                  <a16:creationId xmlns:a16="http://schemas.microsoft.com/office/drawing/2014/main" id="{C4F122CF-A85A-4C1C-9721-16ECF7206BF1}"/>
                </a:ext>
              </a:extLst>
            </p:cNvPr>
            <p:cNvSpPr/>
            <p:nvPr/>
          </p:nvSpPr>
          <p:spPr>
            <a:xfrm>
              <a:off x="660854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2" name="Picture 81" descr="Icon&#10;&#10;Description automatically generated">
              <a:extLst>
                <a:ext uri="{FF2B5EF4-FFF2-40B4-BE49-F238E27FC236}">
                  <a16:creationId xmlns:a16="http://schemas.microsoft.com/office/drawing/2014/main" id="{2A8DA1B1-6D01-4F44-BAD1-1AC01CAB583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06549" y="2352983"/>
              <a:ext cx="540000" cy="540000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87DB7B61-FE12-4C6E-9458-C6B52D5F7849}"/>
              </a:ext>
            </a:extLst>
          </p:cNvPr>
          <p:cNvSpPr/>
          <p:nvPr/>
        </p:nvSpPr>
        <p:spPr>
          <a:xfrm>
            <a:off x="594278" y="3225652"/>
            <a:ext cx="1917250" cy="287034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F6383DCF-04E4-41C8-9FCF-58F0B5F67CEA}"/>
              </a:ext>
            </a:extLst>
          </p:cNvPr>
          <p:cNvSpPr/>
          <p:nvPr/>
        </p:nvSpPr>
        <p:spPr>
          <a:xfrm>
            <a:off x="4492494" y="3149980"/>
            <a:ext cx="5517359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DC3FDCB3-DBCF-42B2-A122-466490F5CBE2}"/>
              </a:ext>
            </a:extLst>
          </p:cNvPr>
          <p:cNvSpPr/>
          <p:nvPr/>
        </p:nvSpPr>
        <p:spPr>
          <a:xfrm>
            <a:off x="6418524" y="2155698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97388C7C-0642-47A5-8D19-B182D7837AD3}"/>
              </a:ext>
            </a:extLst>
          </p:cNvPr>
          <p:cNvSpPr/>
          <p:nvPr/>
        </p:nvSpPr>
        <p:spPr>
          <a:xfrm>
            <a:off x="769264" y="2145350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4CA2913E-186E-4F07-99A9-87825D30956B}"/>
              </a:ext>
            </a:extLst>
          </p:cNvPr>
          <p:cNvSpPr/>
          <p:nvPr/>
        </p:nvSpPr>
        <p:spPr>
          <a:xfrm>
            <a:off x="4560484" y="2134827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9D14EDE5-ECC5-4147-943D-6896458D79FD}"/>
              </a:ext>
            </a:extLst>
          </p:cNvPr>
          <p:cNvSpPr/>
          <p:nvPr/>
        </p:nvSpPr>
        <p:spPr>
          <a:xfrm>
            <a:off x="8295158" y="2154982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70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545135F8-D4BB-4860-ADCF-B6669FF493AE}"/>
              </a:ext>
            </a:extLst>
          </p:cNvPr>
          <p:cNvSpPr/>
          <p:nvPr/>
        </p:nvSpPr>
        <p:spPr>
          <a:xfrm>
            <a:off x="10117066" y="2145350"/>
            <a:ext cx="1626750" cy="353829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25073636-1F89-40F5-A906-6DCB1AF16119}"/>
              </a:ext>
            </a:extLst>
          </p:cNvPr>
          <p:cNvCxnSpPr>
            <a:cxnSpLocks/>
            <a:stCxn id="47" idx="6"/>
          </p:cNvCxnSpPr>
          <p:nvPr/>
        </p:nvCxnSpPr>
        <p:spPr>
          <a:xfrm>
            <a:off x="1728769" y="2622983"/>
            <a:ext cx="8392205" cy="0"/>
          </a:xfrm>
          <a:prstGeom prst="straightConnector1">
            <a:avLst/>
          </a:prstGeom>
          <a:ln w="28575">
            <a:solidFill>
              <a:srgbClr val="0083B8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Le attività previste - le commissioni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66CB66A-5998-4EB6-AD56-6F12A741DBBF}"/>
              </a:ext>
            </a:extLst>
          </p:cNvPr>
          <p:cNvSpPr txBox="1"/>
          <p:nvPr/>
        </p:nvSpPr>
        <p:spPr>
          <a:xfrm>
            <a:off x="693103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B65014D-6B90-4C9D-A4F6-8F81A7C970E8}"/>
              </a:ext>
            </a:extLst>
          </p:cNvPr>
          <p:cNvSpPr/>
          <p:nvPr/>
        </p:nvSpPr>
        <p:spPr>
          <a:xfrm>
            <a:off x="693103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ultazione e integrazione</a:t>
            </a:r>
            <a:endParaRPr lang="it-IT" sz="1400" b="1" i="0" dirty="0">
              <a:effectLst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CF953-A5B9-4DC6-A09E-3CDBCF6DD61D}"/>
              </a:ext>
            </a:extLst>
          </p:cNvPr>
          <p:cNvSpPr/>
          <p:nvPr/>
        </p:nvSpPr>
        <p:spPr>
          <a:xfrm>
            <a:off x="693104" y="4121901"/>
            <a:ext cx="1773238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egreterie scolastiche accedono al Curriculum dello studente, visualizzano le informazioni precaricate a sistema e possono apportare eventuali integrazioni</a:t>
            </a:r>
            <a:endParaRPr lang="en-US" sz="1300" dirty="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3D728CD-108F-4DBE-B99B-5C93434D0272}"/>
              </a:ext>
            </a:extLst>
          </p:cNvPr>
          <p:cNvSpPr txBox="1"/>
          <p:nvPr/>
        </p:nvSpPr>
        <p:spPr>
          <a:xfrm>
            <a:off x="2579558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1211A4B1-C385-4089-96C0-BBBD01AEB960}"/>
              </a:ext>
            </a:extLst>
          </p:cNvPr>
          <p:cNvSpPr/>
          <p:nvPr/>
        </p:nvSpPr>
        <p:spPr>
          <a:xfrm>
            <a:off x="2579558" y="3516559"/>
            <a:ext cx="19256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mpilazione</a:t>
            </a:r>
            <a:endParaRPr lang="it-IT" sz="1400" b="1" i="0" dirty="0">
              <a:effectLst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37A81E08-9253-4742-B4EA-744E1FC582C6}"/>
              </a:ext>
            </a:extLst>
          </p:cNvPr>
          <p:cNvSpPr/>
          <p:nvPr/>
        </p:nvSpPr>
        <p:spPr>
          <a:xfrm>
            <a:off x="2579559" y="4121901"/>
            <a:ext cx="1823588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Gli studenti accedono al Curriculum e compilano le parti di propria competenza, inserendo le informazioni sulle certificazioni conseguite e le attività extrascolastiche svolte</a:t>
            </a:r>
            <a:endParaRPr lang="en-US" sz="1300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981E4DF7-E057-45F1-9708-A32DA58EFC76}"/>
              </a:ext>
            </a:extLst>
          </p:cNvPr>
          <p:cNvSpPr txBox="1"/>
          <p:nvPr/>
        </p:nvSpPr>
        <p:spPr>
          <a:xfrm>
            <a:off x="4503664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4C3740F-565F-4E03-A671-4E779FB1C90C}"/>
              </a:ext>
            </a:extLst>
          </p:cNvPr>
          <p:cNvSpPr/>
          <p:nvPr/>
        </p:nvSpPr>
        <p:spPr>
          <a:xfrm>
            <a:off x="4503664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</a:t>
            </a:r>
            <a:r>
              <a:rPr lang="it-IT" sz="1400" b="1" dirty="0" err="1"/>
              <a:t>pre</a:t>
            </a:r>
            <a:r>
              <a:rPr lang="it-IT" sz="1400" b="1" dirty="0"/>
              <a:t>-esame</a:t>
            </a:r>
            <a:endParaRPr lang="it-IT" sz="1400" b="1" i="0" dirty="0">
              <a:effectLst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572C5FF2-631E-4D9A-8621-6C8AAFFC37DC}"/>
              </a:ext>
            </a:extLst>
          </p:cNvPr>
          <p:cNvSpPr/>
          <p:nvPr/>
        </p:nvSpPr>
        <p:spPr>
          <a:xfrm>
            <a:off x="4503665" y="4121901"/>
            <a:ext cx="1663142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cuole, prima dello svolgimento dell’esame di Stato, integrano il Curriculum con i dati relativi al credito scolastico</a:t>
            </a:r>
            <a:endParaRPr lang="en-US" sz="1300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E08F87C4-3FE9-4521-A99C-415DA110780B}"/>
              </a:ext>
            </a:extLst>
          </p:cNvPr>
          <p:cNvSpPr txBox="1"/>
          <p:nvPr/>
        </p:nvSpPr>
        <p:spPr>
          <a:xfrm>
            <a:off x="6445182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Commissioni d'esame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38430605-E51B-401C-959F-231A8857D0D2}"/>
              </a:ext>
            </a:extLst>
          </p:cNvPr>
          <p:cNvSpPr/>
          <p:nvPr/>
        </p:nvSpPr>
        <p:spPr>
          <a:xfrm>
            <a:off x="6445182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Visualizzazione durante l'esame</a:t>
            </a:r>
            <a:endParaRPr lang="it-IT" sz="1400" b="1" i="0" dirty="0">
              <a:effectLst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FE7CB47-4E9D-46E6-B057-DBA7F03FEE81}"/>
              </a:ext>
            </a:extLst>
          </p:cNvPr>
          <p:cNvSpPr/>
          <p:nvPr/>
        </p:nvSpPr>
        <p:spPr>
          <a:xfrm>
            <a:off x="6445183" y="4121901"/>
            <a:ext cx="1578599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commissioni d’esame tengono conto del Curriculum di ogni studente, in particolare in vista del colloquio</a:t>
            </a:r>
            <a:endParaRPr lang="en-US" sz="13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148DFBBE-ABFD-4C16-9C89-5FC1FC54D262}"/>
              </a:ext>
            </a:extLst>
          </p:cNvPr>
          <p:cNvSpPr txBox="1"/>
          <p:nvPr/>
        </p:nvSpPr>
        <p:spPr>
          <a:xfrm>
            <a:off x="8318937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2318292-361E-4FE7-A7FB-77B0C39D82D6}"/>
              </a:ext>
            </a:extLst>
          </p:cNvPr>
          <p:cNvSpPr/>
          <p:nvPr/>
        </p:nvSpPr>
        <p:spPr>
          <a:xfrm>
            <a:off x="8318937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post-esame</a:t>
            </a:r>
            <a:endParaRPr lang="it-IT" sz="1400" b="1" i="0" dirty="0">
              <a:effectLst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AAB4D4DC-E837-4841-B86E-C265B6B2BCC7}"/>
              </a:ext>
            </a:extLst>
          </p:cNvPr>
          <p:cNvSpPr/>
          <p:nvPr/>
        </p:nvSpPr>
        <p:spPr>
          <a:xfrm>
            <a:off x="8318938" y="4121901"/>
            <a:ext cx="1609732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Dopo l’esame di Stato il Curriculum viene arricchito con l’esito conseguito e collegato al diploma tramite il riferimento al suo numero</a:t>
            </a:r>
            <a:endParaRPr lang="en-US" sz="1300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2620AEF-CC2D-409F-AA2B-BA8A0750FB55}"/>
              </a:ext>
            </a:extLst>
          </p:cNvPr>
          <p:cNvGrpSpPr/>
          <p:nvPr/>
        </p:nvGrpSpPr>
        <p:grpSpPr>
          <a:xfrm>
            <a:off x="10313058" y="2245083"/>
            <a:ext cx="710860" cy="747909"/>
            <a:chOff x="10879478" y="2245083"/>
            <a:chExt cx="710860" cy="747909"/>
          </a:xfrm>
        </p:grpSpPr>
        <p:pic>
          <p:nvPicPr>
            <p:cNvPr id="100" name="Picture 99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3C456324-616B-418E-975E-ABA70CE8E6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207"/>
            <a:stretch/>
          </p:blipFill>
          <p:spPr>
            <a:xfrm>
              <a:off x="10879478" y="2245083"/>
              <a:ext cx="656548" cy="747909"/>
            </a:xfrm>
            <a:prstGeom prst="rect">
              <a:avLst/>
            </a:prstGeom>
          </p:spPr>
        </p:pic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23A8333B-96DD-41E1-AB32-897C0BBB71A6}"/>
                </a:ext>
              </a:extLst>
            </p:cNvPr>
            <p:cNvSpPr/>
            <p:nvPr/>
          </p:nvSpPr>
          <p:spPr>
            <a:xfrm>
              <a:off x="11288396" y="2406296"/>
              <a:ext cx="301942" cy="28462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C3DF64C3-27D4-472E-99CF-228E3AB6FBB1}"/>
              </a:ext>
            </a:extLst>
          </p:cNvPr>
          <p:cNvSpPr txBox="1"/>
          <p:nvPr/>
        </p:nvSpPr>
        <p:spPr>
          <a:xfrm>
            <a:off x="10183019" y="3206812"/>
            <a:ext cx="1368000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EC914D3D-8530-4F61-A083-57D96825CAB3}"/>
              </a:ext>
            </a:extLst>
          </p:cNvPr>
          <p:cNvSpPr/>
          <p:nvPr/>
        </p:nvSpPr>
        <p:spPr>
          <a:xfrm>
            <a:off x="10183020" y="3516559"/>
            <a:ext cx="148097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Acquisizione Curriculum</a:t>
            </a:r>
            <a:endParaRPr lang="it-IT" sz="1400" b="1" i="0" dirty="0">
              <a:effectLst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64728FCA-C8C1-40AE-9446-D6D2A31B962D}"/>
              </a:ext>
            </a:extLst>
          </p:cNvPr>
          <p:cNvSpPr/>
          <p:nvPr/>
        </p:nvSpPr>
        <p:spPr>
          <a:xfrm>
            <a:off x="10183019" y="4121901"/>
            <a:ext cx="1480978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Ogni studente diplomato ritrova il Curriculum definitivo all’interno della piattaforma</a:t>
            </a:r>
            <a:endParaRPr lang="en-US" sz="13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92E556F-6D03-45BD-BEFE-DCE2FF63885D}"/>
              </a:ext>
            </a:extLst>
          </p:cNvPr>
          <p:cNvGrpSpPr/>
          <p:nvPr/>
        </p:nvGrpSpPr>
        <p:grpSpPr>
          <a:xfrm>
            <a:off x="792769" y="2154983"/>
            <a:ext cx="936000" cy="936000"/>
            <a:chOff x="752129" y="2154983"/>
            <a:chExt cx="936000" cy="93600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823D12A-A18D-4946-8C72-38C5662FF92A}"/>
                </a:ext>
              </a:extLst>
            </p:cNvPr>
            <p:cNvSpPr/>
            <p:nvPr/>
          </p:nvSpPr>
          <p:spPr>
            <a:xfrm>
              <a:off x="81317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Donut 35">
              <a:extLst>
                <a:ext uri="{FF2B5EF4-FFF2-40B4-BE49-F238E27FC236}">
                  <a16:creationId xmlns:a16="http://schemas.microsoft.com/office/drawing/2014/main" id="{40341E75-9926-4E0F-B74A-3D8307DF9D99}"/>
                </a:ext>
              </a:extLst>
            </p:cNvPr>
            <p:cNvSpPr/>
            <p:nvPr/>
          </p:nvSpPr>
          <p:spPr>
            <a:xfrm>
              <a:off x="79282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Donut 36">
              <a:extLst>
                <a:ext uri="{FF2B5EF4-FFF2-40B4-BE49-F238E27FC236}">
                  <a16:creationId xmlns:a16="http://schemas.microsoft.com/office/drawing/2014/main" id="{5F0DC69F-6687-4873-9552-B2308E19FEE3}"/>
                </a:ext>
              </a:extLst>
            </p:cNvPr>
            <p:cNvSpPr/>
            <p:nvPr/>
          </p:nvSpPr>
          <p:spPr>
            <a:xfrm>
              <a:off x="75212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5" name="Picture 64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68FBC46C-BA0E-4732-881F-0796E268D5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0128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53176E8-8B47-4A54-AE90-A6BB560E423C}"/>
              </a:ext>
            </a:extLst>
          </p:cNvPr>
          <p:cNvGrpSpPr/>
          <p:nvPr/>
        </p:nvGrpSpPr>
        <p:grpSpPr>
          <a:xfrm>
            <a:off x="4563521" y="2154983"/>
            <a:ext cx="936000" cy="936000"/>
            <a:chOff x="4122299" y="2154983"/>
            <a:chExt cx="936000" cy="93600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B43937C7-8881-4BCF-A3C2-D4BE337D414E}"/>
                </a:ext>
              </a:extLst>
            </p:cNvPr>
            <p:cNvSpPr/>
            <p:nvPr/>
          </p:nvSpPr>
          <p:spPr>
            <a:xfrm>
              <a:off x="418334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Donut 143">
              <a:extLst>
                <a:ext uri="{FF2B5EF4-FFF2-40B4-BE49-F238E27FC236}">
                  <a16:creationId xmlns:a16="http://schemas.microsoft.com/office/drawing/2014/main" id="{0CDB8357-1119-4456-9A0B-28D415101691}"/>
                </a:ext>
              </a:extLst>
            </p:cNvPr>
            <p:cNvSpPr/>
            <p:nvPr/>
          </p:nvSpPr>
          <p:spPr>
            <a:xfrm>
              <a:off x="416299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Donut 144">
              <a:extLst>
                <a:ext uri="{FF2B5EF4-FFF2-40B4-BE49-F238E27FC236}">
                  <a16:creationId xmlns:a16="http://schemas.microsoft.com/office/drawing/2014/main" id="{5710313C-9689-4CBB-B798-7D717D2FBFB2}"/>
                </a:ext>
              </a:extLst>
            </p:cNvPr>
            <p:cNvSpPr/>
            <p:nvPr/>
          </p:nvSpPr>
          <p:spPr>
            <a:xfrm>
              <a:off x="412229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6" name="Picture 65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55314571-AFDC-4322-9E9B-0FAE87B80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0299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F7402BC-259D-42B5-BF70-139D1C6D67FF}"/>
              </a:ext>
            </a:extLst>
          </p:cNvPr>
          <p:cNvGrpSpPr/>
          <p:nvPr/>
        </p:nvGrpSpPr>
        <p:grpSpPr>
          <a:xfrm>
            <a:off x="8334274" y="2154983"/>
            <a:ext cx="936000" cy="936000"/>
            <a:chOff x="9177554" y="2154983"/>
            <a:chExt cx="936000" cy="93600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D1E82573-AEB7-42C7-8E7D-F46339788496}"/>
                </a:ext>
              </a:extLst>
            </p:cNvPr>
            <p:cNvSpPr/>
            <p:nvPr/>
          </p:nvSpPr>
          <p:spPr>
            <a:xfrm>
              <a:off x="9238597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Donut 167">
              <a:extLst>
                <a:ext uri="{FF2B5EF4-FFF2-40B4-BE49-F238E27FC236}">
                  <a16:creationId xmlns:a16="http://schemas.microsoft.com/office/drawing/2014/main" id="{1E518443-9DB0-4F2F-B744-2CACD0B83BAD}"/>
                </a:ext>
              </a:extLst>
            </p:cNvPr>
            <p:cNvSpPr/>
            <p:nvPr/>
          </p:nvSpPr>
          <p:spPr>
            <a:xfrm>
              <a:off x="9218250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Donut 168">
              <a:extLst>
                <a:ext uri="{FF2B5EF4-FFF2-40B4-BE49-F238E27FC236}">
                  <a16:creationId xmlns:a16="http://schemas.microsoft.com/office/drawing/2014/main" id="{3E9BCBE3-D938-4E42-B9EF-B76419ADF16F}"/>
                </a:ext>
              </a:extLst>
            </p:cNvPr>
            <p:cNvSpPr/>
            <p:nvPr/>
          </p:nvSpPr>
          <p:spPr>
            <a:xfrm>
              <a:off x="9177554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2" name="Picture 71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F68F2EF0-5F94-4124-AC8F-0D6F605D70D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75554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417AA789-B257-4BE1-AC7C-D16B63FD320A}"/>
              </a:ext>
            </a:extLst>
          </p:cNvPr>
          <p:cNvGrpSpPr/>
          <p:nvPr/>
        </p:nvGrpSpPr>
        <p:grpSpPr>
          <a:xfrm>
            <a:off x="2678145" y="2154982"/>
            <a:ext cx="936000" cy="943545"/>
            <a:chOff x="2437214" y="2154982"/>
            <a:chExt cx="936000" cy="943545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7AE3AE5B-FFAE-488B-96E8-E9FE4D143630}"/>
                </a:ext>
              </a:extLst>
            </p:cNvPr>
            <p:cNvSpPr/>
            <p:nvPr/>
          </p:nvSpPr>
          <p:spPr>
            <a:xfrm>
              <a:off x="2498257" y="2216518"/>
              <a:ext cx="813913" cy="820474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Donut 149">
              <a:extLst>
                <a:ext uri="{FF2B5EF4-FFF2-40B4-BE49-F238E27FC236}">
                  <a16:creationId xmlns:a16="http://schemas.microsoft.com/office/drawing/2014/main" id="{977752B8-3DFF-4704-BD27-EBCBE51056E7}"/>
                </a:ext>
              </a:extLst>
            </p:cNvPr>
            <p:cNvSpPr/>
            <p:nvPr/>
          </p:nvSpPr>
          <p:spPr>
            <a:xfrm>
              <a:off x="2477910" y="2196006"/>
              <a:ext cx="854609" cy="861498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Donut 150">
              <a:extLst>
                <a:ext uri="{FF2B5EF4-FFF2-40B4-BE49-F238E27FC236}">
                  <a16:creationId xmlns:a16="http://schemas.microsoft.com/office/drawing/2014/main" id="{1402688E-B5A9-4FD8-A12E-12F43D89DCC3}"/>
                </a:ext>
              </a:extLst>
            </p:cNvPr>
            <p:cNvSpPr/>
            <p:nvPr/>
          </p:nvSpPr>
          <p:spPr>
            <a:xfrm>
              <a:off x="2437214" y="2154982"/>
              <a:ext cx="936000" cy="943545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19056FC0-B19B-451F-A197-34F2541DD22F}"/>
                </a:ext>
              </a:extLst>
            </p:cNvPr>
            <p:cNvGrpSpPr/>
            <p:nvPr/>
          </p:nvGrpSpPr>
          <p:grpSpPr>
            <a:xfrm>
              <a:off x="2725810" y="2346180"/>
              <a:ext cx="358806" cy="539744"/>
              <a:chOff x="4148419" y="1868128"/>
              <a:chExt cx="358806" cy="539744"/>
            </a:xfrm>
          </p:grpSpPr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436CDFB2-35E8-4A26-948F-1200C275E88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1406" t="58006" r="16225"/>
              <a:stretch/>
            </p:blipFill>
            <p:spPr>
              <a:xfrm>
                <a:off x="4148419" y="2166374"/>
                <a:ext cx="358669" cy="241498"/>
              </a:xfrm>
              <a:prstGeom prst="rect">
                <a:avLst/>
              </a:prstGeom>
            </p:spPr>
          </p:pic>
          <p:pic>
            <p:nvPicPr>
              <p:cNvPr id="75" name="Picture 74">
                <a:extLst>
                  <a:ext uri="{FF2B5EF4-FFF2-40B4-BE49-F238E27FC236}">
                    <a16:creationId xmlns:a16="http://schemas.microsoft.com/office/drawing/2014/main" id="{E970A611-6658-4041-982D-A997475DBD3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9906" t="6144" r="16225" b="41709"/>
              <a:stretch/>
            </p:blipFill>
            <p:spPr>
              <a:xfrm>
                <a:off x="4197439" y="1868128"/>
                <a:ext cx="309786" cy="299885"/>
              </a:xfrm>
              <a:prstGeom prst="rect">
                <a:avLst/>
              </a:prstGeom>
            </p:spPr>
          </p:pic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F23A6AE-9272-4233-AC8F-2A75B4D5F413}"/>
              </a:ext>
            </a:extLst>
          </p:cNvPr>
          <p:cNvGrpSpPr/>
          <p:nvPr/>
        </p:nvGrpSpPr>
        <p:grpSpPr>
          <a:xfrm>
            <a:off x="6448897" y="2154983"/>
            <a:ext cx="936000" cy="936000"/>
            <a:chOff x="6608549" y="2154983"/>
            <a:chExt cx="936000" cy="936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58B414E2-A075-436D-ABE7-5F9637B6034E}"/>
                </a:ext>
              </a:extLst>
            </p:cNvPr>
            <p:cNvSpPr/>
            <p:nvPr/>
          </p:nvSpPr>
          <p:spPr>
            <a:xfrm>
              <a:off x="666959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Donut 161">
              <a:extLst>
                <a:ext uri="{FF2B5EF4-FFF2-40B4-BE49-F238E27FC236}">
                  <a16:creationId xmlns:a16="http://schemas.microsoft.com/office/drawing/2014/main" id="{ACCEF2FF-A2DD-4CC8-925A-F8F2D005292A}"/>
                </a:ext>
              </a:extLst>
            </p:cNvPr>
            <p:cNvSpPr/>
            <p:nvPr/>
          </p:nvSpPr>
          <p:spPr>
            <a:xfrm>
              <a:off x="664924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Donut 162">
              <a:extLst>
                <a:ext uri="{FF2B5EF4-FFF2-40B4-BE49-F238E27FC236}">
                  <a16:creationId xmlns:a16="http://schemas.microsoft.com/office/drawing/2014/main" id="{C4F122CF-A85A-4C1C-9721-16ECF7206BF1}"/>
                </a:ext>
              </a:extLst>
            </p:cNvPr>
            <p:cNvSpPr/>
            <p:nvPr/>
          </p:nvSpPr>
          <p:spPr>
            <a:xfrm>
              <a:off x="660854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2" name="Picture 81" descr="Icon&#10;&#10;Description automatically generated">
              <a:extLst>
                <a:ext uri="{FF2B5EF4-FFF2-40B4-BE49-F238E27FC236}">
                  <a16:creationId xmlns:a16="http://schemas.microsoft.com/office/drawing/2014/main" id="{2A8DA1B1-6D01-4F44-BAD1-1AC01CAB583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06549" y="2352983"/>
              <a:ext cx="540000" cy="540000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87DB7B61-FE12-4C6E-9458-C6B52D5F7849}"/>
              </a:ext>
            </a:extLst>
          </p:cNvPr>
          <p:cNvSpPr/>
          <p:nvPr/>
        </p:nvSpPr>
        <p:spPr>
          <a:xfrm>
            <a:off x="594278" y="3225652"/>
            <a:ext cx="1917250" cy="287034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F6383DCF-04E4-41C8-9FCF-58F0B5F67CEA}"/>
              </a:ext>
            </a:extLst>
          </p:cNvPr>
          <p:cNvSpPr/>
          <p:nvPr/>
        </p:nvSpPr>
        <p:spPr>
          <a:xfrm>
            <a:off x="4492495" y="3149980"/>
            <a:ext cx="1784408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97388C7C-0642-47A5-8D19-B182D7837AD3}"/>
              </a:ext>
            </a:extLst>
          </p:cNvPr>
          <p:cNvSpPr/>
          <p:nvPr/>
        </p:nvSpPr>
        <p:spPr>
          <a:xfrm>
            <a:off x="769264" y="2145350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4CA2913E-186E-4F07-99A9-87825D30956B}"/>
              </a:ext>
            </a:extLst>
          </p:cNvPr>
          <p:cNvSpPr/>
          <p:nvPr/>
        </p:nvSpPr>
        <p:spPr>
          <a:xfrm>
            <a:off x="4560484" y="2134827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9D14EDE5-ECC5-4147-943D-6896458D79FD}"/>
              </a:ext>
            </a:extLst>
          </p:cNvPr>
          <p:cNvSpPr/>
          <p:nvPr/>
        </p:nvSpPr>
        <p:spPr>
          <a:xfrm>
            <a:off x="8295158" y="2154982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90F5DC8F-8190-455A-A201-D065BCDDE6EC}"/>
              </a:ext>
            </a:extLst>
          </p:cNvPr>
          <p:cNvSpPr/>
          <p:nvPr/>
        </p:nvSpPr>
        <p:spPr>
          <a:xfrm>
            <a:off x="8277674" y="3200978"/>
            <a:ext cx="1784408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74B50975-6D3D-407B-912B-C8A5951DE49A}"/>
              </a:ext>
            </a:extLst>
          </p:cNvPr>
          <p:cNvSpPr/>
          <p:nvPr/>
        </p:nvSpPr>
        <p:spPr>
          <a:xfrm>
            <a:off x="2499273" y="3164117"/>
            <a:ext cx="1903873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81D497F9-1CF1-4407-987D-4BA1924E4318}"/>
              </a:ext>
            </a:extLst>
          </p:cNvPr>
          <p:cNvSpPr/>
          <p:nvPr/>
        </p:nvSpPr>
        <p:spPr>
          <a:xfrm>
            <a:off x="2678145" y="2145350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4A14F839-CEBD-4DD7-B41E-1D98F09D62FB}"/>
              </a:ext>
            </a:extLst>
          </p:cNvPr>
          <p:cNvSpPr/>
          <p:nvPr/>
        </p:nvSpPr>
        <p:spPr>
          <a:xfrm>
            <a:off x="10118231" y="2033832"/>
            <a:ext cx="1676051" cy="3780829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26245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8F3848D-F3E5-4215-9CB2-31A8B219F835}"/>
              </a:ext>
            </a:extLst>
          </p:cNvPr>
          <p:cNvSpPr/>
          <p:nvPr/>
        </p:nvSpPr>
        <p:spPr>
          <a:xfrm>
            <a:off x="1775638" y="1626784"/>
            <a:ext cx="9533860" cy="4444409"/>
          </a:xfrm>
          <a:prstGeom prst="rect">
            <a:avLst/>
          </a:prstGeom>
          <a:solidFill>
            <a:srgbClr val="B7E0EC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endParaRPr lang="it-IT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289A1-C2F2-4757-83DA-8BAE80A160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ym typeface="Dosis Light"/>
              </a:rPr>
              <a:t>Candidati esterni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17C5BB9-3C22-41E4-8B90-2BB189A767E3}"/>
              </a:ext>
            </a:extLst>
          </p:cNvPr>
          <p:cNvSpPr/>
          <p:nvPr/>
        </p:nvSpPr>
        <p:spPr>
          <a:xfrm>
            <a:off x="3029106" y="1714730"/>
            <a:ext cx="8186290" cy="4263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it-IT" sz="1600" dirty="0"/>
              <a:t>I </a:t>
            </a:r>
            <a:r>
              <a:rPr lang="it-IT" sz="1600" b="1" dirty="0"/>
              <a:t>candidati esterni procedono con la compilazione del </a:t>
            </a:r>
            <a:r>
              <a:rPr lang="it-IT" sz="1600" b="1" i="1" dirty="0"/>
              <a:t>Curriculum</a:t>
            </a:r>
            <a:r>
              <a:rPr lang="it-IT" sz="1600" b="1" dirty="0"/>
              <a:t> prima di sostenere l’esame preliminare: </a:t>
            </a:r>
            <a:r>
              <a:rPr lang="it-IT" sz="1600" dirty="0"/>
              <a:t>il Curriculum viene </a:t>
            </a:r>
            <a:r>
              <a:rPr lang="it-IT" sz="1600" b="1" dirty="0"/>
              <a:t>consolidato </a:t>
            </a:r>
            <a:r>
              <a:rPr lang="it-IT" sz="1600" dirty="0"/>
              <a:t>dalle segreterie </a:t>
            </a:r>
            <a:r>
              <a:rPr lang="it-IT" sz="1600" b="1" dirty="0"/>
              <a:t>solo in caso di ammissione all’esame. 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it-IT" sz="1600" dirty="0"/>
              <a:t>In considerazione del particolare percorso scolastico seguito, che non permette in alcuni casi di ritrovare tutte le informazioni nel sistema informativo del Ministero, i </a:t>
            </a:r>
            <a:r>
              <a:rPr lang="it-IT" sz="1600" b="1" dirty="0"/>
              <a:t>candidati esterni trovano nella piattaforma delle sezioni aggiuntive rispetto ai candidati interni,</a:t>
            </a:r>
            <a:r>
              <a:rPr lang="it-IT" sz="1600" dirty="0"/>
              <a:t> per integrare le informazioni riguardanti: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dirty="0"/>
              <a:t>qualifiche e diplomi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dirty="0"/>
              <a:t>esperienze di apprendistato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dirty="0"/>
              <a:t>mobilità studentesca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dirty="0"/>
              <a:t>eventuali attività assimilabili ai </a:t>
            </a:r>
            <a:r>
              <a:rPr lang="it-IT" sz="1600" dirty="0" err="1"/>
              <a:t>PCTO</a:t>
            </a:r>
            <a:endParaRPr lang="en-US" sz="1600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D04D70A-813A-475E-8EA2-FEEC90813B2E}"/>
              </a:ext>
            </a:extLst>
          </p:cNvPr>
          <p:cNvGrpSpPr/>
          <p:nvPr/>
        </p:nvGrpSpPr>
        <p:grpSpPr>
          <a:xfrm>
            <a:off x="631775" y="2860321"/>
            <a:ext cx="2063976" cy="2080034"/>
            <a:chOff x="2437214" y="2154982"/>
            <a:chExt cx="936000" cy="943545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E3844739-DB1F-4AEA-9DDC-63C8DBAB0BCD}"/>
                </a:ext>
              </a:extLst>
            </p:cNvPr>
            <p:cNvSpPr/>
            <p:nvPr/>
          </p:nvSpPr>
          <p:spPr>
            <a:xfrm>
              <a:off x="2498257" y="2216518"/>
              <a:ext cx="813913" cy="82047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Donut 149">
              <a:extLst>
                <a:ext uri="{FF2B5EF4-FFF2-40B4-BE49-F238E27FC236}">
                  <a16:creationId xmlns:a16="http://schemas.microsoft.com/office/drawing/2014/main" id="{088295CA-CFEA-400E-8292-2D268AE628B2}"/>
                </a:ext>
              </a:extLst>
            </p:cNvPr>
            <p:cNvSpPr/>
            <p:nvPr/>
          </p:nvSpPr>
          <p:spPr>
            <a:xfrm>
              <a:off x="2477910" y="2196006"/>
              <a:ext cx="854609" cy="861498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Donut 150">
              <a:extLst>
                <a:ext uri="{FF2B5EF4-FFF2-40B4-BE49-F238E27FC236}">
                  <a16:creationId xmlns:a16="http://schemas.microsoft.com/office/drawing/2014/main" id="{D7E3F61B-67D7-4915-8112-D0CD25E1BEA0}"/>
                </a:ext>
              </a:extLst>
            </p:cNvPr>
            <p:cNvSpPr/>
            <p:nvPr/>
          </p:nvSpPr>
          <p:spPr>
            <a:xfrm>
              <a:off x="2437214" y="2154982"/>
              <a:ext cx="936000" cy="943545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0011D810-6F27-48BB-BF5F-F40767C3BA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0264" y="3294284"/>
            <a:ext cx="1212108" cy="1212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89983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37597E-228D-4789-A62F-80F07E1E04FA}"/>
              </a:ext>
            </a:extLst>
          </p:cNvPr>
          <p:cNvSpPr/>
          <p:nvPr/>
        </p:nvSpPr>
        <p:spPr>
          <a:xfrm>
            <a:off x="0" y="0"/>
            <a:ext cx="6095998" cy="6895021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F35BB9-EF1C-40A4-B712-C382C3941380}"/>
              </a:ext>
            </a:extLst>
          </p:cNvPr>
          <p:cNvSpPr/>
          <p:nvPr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9A6D697-F3B8-46B4-BB1D-DD080399DF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550858" y="2530461"/>
            <a:ext cx="6895020" cy="1804737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A8CCE68-CEB1-4DBD-B64A-05F58866373D}"/>
              </a:ext>
            </a:extLst>
          </p:cNvPr>
          <p:cNvSpPr/>
          <p:nvPr/>
        </p:nvSpPr>
        <p:spPr>
          <a:xfrm flipH="1">
            <a:off x="6318982" y="-35749"/>
            <a:ext cx="1565945" cy="6966518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9B8B768F-4202-4EBB-9ADC-D437EEF481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33071" y="934915"/>
            <a:ext cx="2453489" cy="89307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AB629E7-3D90-4130-BB5D-916C74E26078}"/>
              </a:ext>
            </a:extLst>
          </p:cNvPr>
          <p:cNvSpPr txBox="1"/>
          <p:nvPr/>
        </p:nvSpPr>
        <p:spPr>
          <a:xfrm>
            <a:off x="8048380" y="2079376"/>
            <a:ext cx="38197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3600" b="1" dirty="0">
                <a:solidFill>
                  <a:srgbClr val="179DC2"/>
                </a:solidFill>
                <a:latin typeface="Comfortaa" pitchFamily="2" charset="0"/>
                <a:sym typeface="Dosis Light"/>
              </a:rPr>
              <a:t>Agenda</a:t>
            </a:r>
          </a:p>
          <a:p>
            <a:pPr algn="r"/>
            <a:endParaRPr lang="en-US" sz="3600" b="1" dirty="0">
              <a:solidFill>
                <a:srgbClr val="179DC2"/>
              </a:solidFill>
              <a:latin typeface="Comfortaa" pitchFamily="2" charset="0"/>
              <a:sym typeface="Dosis Light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649EB0D-30E0-4254-92D5-CA0391CD20A3}"/>
              </a:ext>
            </a:extLst>
          </p:cNvPr>
          <p:cNvCxnSpPr>
            <a:cxnSpLocks/>
          </p:cNvCxnSpPr>
          <p:nvPr/>
        </p:nvCxnSpPr>
        <p:spPr>
          <a:xfrm>
            <a:off x="8237989" y="1943501"/>
            <a:ext cx="3548571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D253483-0DD0-4C97-A1F3-1A53DBDDB47A}"/>
              </a:ext>
            </a:extLst>
          </p:cNvPr>
          <p:cNvCxnSpPr/>
          <p:nvPr/>
        </p:nvCxnSpPr>
        <p:spPr>
          <a:xfrm>
            <a:off x="1115630" y="0"/>
            <a:ext cx="0" cy="684000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6FDB52C2-7E92-42C3-8F28-6AB3B6D9A565}"/>
              </a:ext>
            </a:extLst>
          </p:cNvPr>
          <p:cNvSpPr/>
          <p:nvPr/>
        </p:nvSpPr>
        <p:spPr>
          <a:xfrm>
            <a:off x="767726" y="1031171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0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C0F13CB-0E49-4DDD-B2B1-52E48A435425}"/>
              </a:ext>
            </a:extLst>
          </p:cNvPr>
          <p:cNvSpPr/>
          <p:nvPr/>
        </p:nvSpPr>
        <p:spPr>
          <a:xfrm>
            <a:off x="767726" y="2750088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DC658E9-C935-45D4-9FA4-5F4F47F66463}"/>
              </a:ext>
            </a:extLst>
          </p:cNvPr>
          <p:cNvSpPr/>
          <p:nvPr/>
        </p:nvSpPr>
        <p:spPr>
          <a:xfrm>
            <a:off x="767726" y="4469004"/>
            <a:ext cx="684000" cy="684000"/>
          </a:xfrm>
          <a:prstGeom prst="ellipse">
            <a:avLst/>
          </a:prstGeom>
          <a:solidFill>
            <a:srgbClr val="AB244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84E30F9-4F92-4B34-8893-462FF23256A8}"/>
              </a:ext>
            </a:extLst>
          </p:cNvPr>
          <p:cNvSpPr txBox="1"/>
          <p:nvPr/>
        </p:nvSpPr>
        <p:spPr>
          <a:xfrm>
            <a:off x="1592061" y="1096172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Il Curriculum dello studente</a:t>
            </a:r>
          </a:p>
          <a:p>
            <a:r>
              <a:rPr lang="it-IT" sz="1200" dirty="0">
                <a:solidFill>
                  <a:schemeClr val="tx2"/>
                </a:solidFill>
              </a:rPr>
              <a:t>Valore, attori coinvolti, struttura e riferimenti normativi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1F6BAE7-68BB-4399-BA0B-B1A35B6735D3}"/>
              </a:ext>
            </a:extLst>
          </p:cNvPr>
          <p:cNvSpPr txBox="1"/>
          <p:nvPr/>
        </p:nvSpPr>
        <p:spPr>
          <a:xfrm>
            <a:off x="1592061" y="2815089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Il processo di realizzazione</a:t>
            </a:r>
          </a:p>
          <a:p>
            <a:r>
              <a:rPr lang="it-IT" sz="1200" dirty="0">
                <a:solidFill>
                  <a:schemeClr val="tx2"/>
                </a:solidFill>
              </a:rPr>
              <a:t>Le attività previs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98FBB9B-1226-4C09-9AFC-ED406DFADFEB}"/>
              </a:ext>
            </a:extLst>
          </p:cNvPr>
          <p:cNvSpPr txBox="1"/>
          <p:nvPr/>
        </p:nvSpPr>
        <p:spPr>
          <a:xfrm>
            <a:off x="1592060" y="4307465"/>
            <a:ext cx="45039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L’introduzione del Curriculum nell’anno scolastico 2020/21</a:t>
            </a:r>
          </a:p>
          <a:p>
            <a:r>
              <a:rPr lang="it-IT" sz="1200" dirty="0">
                <a:solidFill>
                  <a:schemeClr val="bg1"/>
                </a:solidFill>
              </a:rPr>
              <a:t>Le operazioni da svolgere e gli strumenti di accompagnamento </a:t>
            </a:r>
          </a:p>
        </p:txBody>
      </p:sp>
    </p:spTree>
    <p:extLst>
      <p:ext uri="{BB962C8B-B14F-4D97-AF65-F5344CB8AC3E}">
        <p14:creationId xmlns:p14="http://schemas.microsoft.com/office/powerpoint/2010/main" val="24316412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Il contesto di riferimento per l’a.s. 2020/21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474676" y="1347415"/>
            <a:ext cx="9827782" cy="614199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l’a.s. 2020/21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no interessate </a:t>
            </a: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 classi finali del percorso di studio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lassi V o IV per quadriennali)</a:t>
            </a:r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0E72F072-1449-4C29-9BE1-7DA24B27E6A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775" y="1362975"/>
            <a:ext cx="575913" cy="57591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474676" y="2357443"/>
            <a:ext cx="9827781" cy="614199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patto sul lavoro delle scuole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è minimo: si tratta di consolidare la presenza di informazioni già precaricate a sistema con eventuali integrazioni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04B224B6-33B1-431E-9F21-EE7EFA96AF8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5444" y="2412207"/>
            <a:ext cx="518569" cy="51413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474675" y="3367471"/>
            <a:ext cx="9827781" cy="614199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prima istanza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l’utilizzo del Curriculum è finalizzato all’esame di Stato, in particolare è messo a disposizione della Commissione che ne tiene conto nello svolgimento dei colloqui</a:t>
            </a:r>
          </a:p>
        </p:txBody>
      </p:sp>
      <p:pic>
        <p:nvPicPr>
          <p:cNvPr id="23" name="Picture 22" descr="Icon&#10;&#10;Description automatically generated">
            <a:extLst>
              <a:ext uri="{FF2B5EF4-FFF2-40B4-BE49-F238E27FC236}">
                <a16:creationId xmlns:a16="http://schemas.microsoft.com/office/drawing/2014/main" id="{F93500A2-9195-4D7C-948A-DA701067F70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404" y="3402384"/>
            <a:ext cx="556608" cy="55660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474675" y="4377499"/>
            <a:ext cx="9827781" cy="614199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Curriculum è allegato al diploma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art. 21 D.lgs. 62/2017 e Ordinanza 3 marzo 2021, n. 53)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E9E75521-2D6E-4BBE-8D66-D6182D846E29}"/>
              </a:ext>
            </a:extLst>
          </p:cNvPr>
          <p:cNvGrpSpPr/>
          <p:nvPr/>
        </p:nvGrpSpPr>
        <p:grpSpPr>
          <a:xfrm>
            <a:off x="673976" y="4415785"/>
            <a:ext cx="556608" cy="575913"/>
            <a:chOff x="873534" y="5159693"/>
            <a:chExt cx="833838" cy="934920"/>
          </a:xfrm>
        </p:grpSpPr>
        <p:pic>
          <p:nvPicPr>
            <p:cNvPr id="25" name="Picture 24" descr="A picture containing chart&#10;&#10;Description automatically generated">
              <a:extLst>
                <a:ext uri="{FF2B5EF4-FFF2-40B4-BE49-F238E27FC236}">
                  <a16:creationId xmlns:a16="http://schemas.microsoft.com/office/drawing/2014/main" id="{4C5D352A-26D9-4E1C-9082-9D786253D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3534" y="5159693"/>
              <a:ext cx="811213" cy="811214"/>
            </a:xfrm>
            <a:prstGeom prst="rect">
              <a:avLst/>
            </a:prstGeom>
          </p:spPr>
        </p:pic>
        <p:pic>
          <p:nvPicPr>
            <p:cNvPr id="27" name="Picture 26" descr="Icon&#10;&#10;Description automatically generated">
              <a:extLst>
                <a:ext uri="{FF2B5EF4-FFF2-40B4-BE49-F238E27FC236}">
                  <a16:creationId xmlns:a16="http://schemas.microsoft.com/office/drawing/2014/main" id="{1112A7E7-CCBF-4F5B-917D-89984B0ADE9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17426" y="5604667"/>
              <a:ext cx="489946" cy="489946"/>
            </a:xfrm>
            <a:prstGeom prst="rect">
              <a:avLst/>
            </a:prstGeom>
          </p:spPr>
        </p:pic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F5933533-15DF-4DAE-B641-42B1954F84D0}"/>
              </a:ext>
            </a:extLst>
          </p:cNvPr>
          <p:cNvSpPr/>
          <p:nvPr/>
        </p:nvSpPr>
        <p:spPr>
          <a:xfrm>
            <a:off x="1474675" y="5312859"/>
            <a:ext cx="9827781" cy="614199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cessivamente saranno valutate eventuali evoluzioni future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pubblicazione del Curriculum, dematerializzazione del diploma, identità digitale) come previsto dall’art 3, DM 6/08/2020, n. 88</a:t>
            </a:r>
          </a:p>
        </p:txBody>
      </p:sp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E4E14B80-7563-4ED3-899B-B99DEA8A4F7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938" y="5312923"/>
            <a:ext cx="614135" cy="614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3978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La popolazione interessata</a:t>
            </a:r>
            <a:br>
              <a:rPr lang="it-IT" dirty="0">
                <a:sym typeface="Dosis Light"/>
              </a:rPr>
            </a:br>
            <a:endParaRPr lang="it-IT" dirty="0">
              <a:sym typeface="Dosis Light"/>
            </a:endParaRPr>
          </a:p>
        </p:txBody>
      </p:sp>
      <p:sp>
        <p:nvSpPr>
          <p:cNvPr id="5" name="Rounded Rectangle 13"/>
          <p:cNvSpPr/>
          <p:nvPr/>
        </p:nvSpPr>
        <p:spPr>
          <a:xfrm>
            <a:off x="3362325" y="1668949"/>
            <a:ext cx="2160000" cy="720000"/>
          </a:xfrm>
          <a:prstGeom prst="roundRect">
            <a:avLst/>
          </a:prstGeom>
          <a:solidFill>
            <a:srgbClr val="AB24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600" b="1" dirty="0">
                <a:solidFill>
                  <a:schemeClr val="bg1"/>
                </a:solidFill>
              </a:rPr>
              <a:t>SCUOLE</a:t>
            </a:r>
          </a:p>
        </p:txBody>
      </p:sp>
      <p:sp>
        <p:nvSpPr>
          <p:cNvPr id="7" name="Rounded Rectangle 16"/>
          <p:cNvSpPr/>
          <p:nvPr/>
        </p:nvSpPr>
        <p:spPr>
          <a:xfrm>
            <a:off x="3362325" y="2714340"/>
            <a:ext cx="2160000" cy="720000"/>
          </a:xfrm>
          <a:prstGeom prst="round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600" b="1" dirty="0">
                <a:solidFill>
                  <a:schemeClr val="tx1"/>
                </a:solidFill>
              </a:rPr>
              <a:t>COMMISSIONI</a:t>
            </a:r>
          </a:p>
        </p:txBody>
      </p:sp>
      <p:sp>
        <p:nvSpPr>
          <p:cNvPr id="8" name="Rounded Rectangle 18"/>
          <p:cNvSpPr/>
          <p:nvPr/>
        </p:nvSpPr>
        <p:spPr>
          <a:xfrm>
            <a:off x="3362325" y="3759731"/>
            <a:ext cx="2160000" cy="72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38100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lang="it-IT" sz="1600" b="1" dirty="0">
                <a:solidFill>
                  <a:schemeClr val="tx1"/>
                </a:solidFill>
              </a:rPr>
              <a:t>CLASSI </a:t>
            </a:r>
          </a:p>
          <a:p>
            <a:pPr algn="ctr"/>
            <a:r>
              <a:rPr lang="it-IT" sz="1600" b="1" dirty="0">
                <a:solidFill>
                  <a:schemeClr val="tx1"/>
                </a:solidFill>
              </a:rPr>
              <a:t>COINVOLTE</a:t>
            </a:r>
          </a:p>
        </p:txBody>
      </p:sp>
      <p:sp>
        <p:nvSpPr>
          <p:cNvPr id="9" name="Rounded Rectangle 19"/>
          <p:cNvSpPr/>
          <p:nvPr/>
        </p:nvSpPr>
        <p:spPr>
          <a:xfrm>
            <a:off x="3362325" y="4805121"/>
            <a:ext cx="2160000" cy="720000"/>
          </a:xfrm>
          <a:prstGeom prst="roundRect">
            <a:avLst/>
          </a:prstGeom>
          <a:solidFill>
            <a:srgbClr val="B7E0EC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it-IT" sz="1600" b="1" dirty="0">
                <a:solidFill>
                  <a:schemeClr val="tx1"/>
                </a:solidFill>
              </a:rPr>
              <a:t> STUDENTI</a:t>
            </a:r>
          </a:p>
        </p:txBody>
      </p:sp>
      <p:sp>
        <p:nvSpPr>
          <p:cNvPr id="10" name="TextBox 26"/>
          <p:cNvSpPr txBox="1"/>
          <p:nvPr/>
        </p:nvSpPr>
        <p:spPr>
          <a:xfrm>
            <a:off x="5990739" y="2714340"/>
            <a:ext cx="2160000" cy="72000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it-IT" b="1" dirty="0"/>
              <a:t> circa 13.000 </a:t>
            </a:r>
          </a:p>
        </p:txBody>
      </p:sp>
      <p:sp>
        <p:nvSpPr>
          <p:cNvPr id="11" name="TextBox 29"/>
          <p:cNvSpPr txBox="1"/>
          <p:nvPr/>
        </p:nvSpPr>
        <p:spPr>
          <a:xfrm>
            <a:off x="5990739" y="3759731"/>
            <a:ext cx="2160000" cy="72000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it-IT" b="1" dirty="0"/>
              <a:t> circa 26.000</a:t>
            </a:r>
          </a:p>
        </p:txBody>
      </p:sp>
      <p:sp>
        <p:nvSpPr>
          <p:cNvPr id="12" name="TextBox 30"/>
          <p:cNvSpPr txBox="1"/>
          <p:nvPr/>
        </p:nvSpPr>
        <p:spPr>
          <a:xfrm>
            <a:off x="5990739" y="4805121"/>
            <a:ext cx="2160000" cy="72000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it-IT" b="1" dirty="0"/>
              <a:t> circa 500.000 </a:t>
            </a:r>
          </a:p>
        </p:txBody>
      </p:sp>
      <p:sp>
        <p:nvSpPr>
          <p:cNvPr id="13" name="TextBox 26"/>
          <p:cNvSpPr txBox="1"/>
          <p:nvPr/>
        </p:nvSpPr>
        <p:spPr>
          <a:xfrm>
            <a:off x="5990739" y="1668949"/>
            <a:ext cx="2160000" cy="72000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it-IT" b="1" dirty="0"/>
              <a:t> circa 7.000 </a:t>
            </a:r>
          </a:p>
        </p:txBody>
      </p:sp>
      <p:pic>
        <p:nvPicPr>
          <p:cNvPr id="18" name="Picture 17" descr="A clock on a yellow building&#10;&#10;Description automatically generated">
            <a:extLst>
              <a:ext uri="{FF2B5EF4-FFF2-40B4-BE49-F238E27FC236}">
                <a16:creationId xmlns:a16="http://schemas.microsoft.com/office/drawing/2014/main" id="{81D23BE2-8037-4EE4-A400-CD438832136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5131" y="1544708"/>
            <a:ext cx="809009" cy="809009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C11CA78-EDEF-4E60-8FC6-4B87939724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24568" y="4592627"/>
            <a:ext cx="978901" cy="978901"/>
          </a:xfrm>
          <a:prstGeom prst="rect">
            <a:avLst/>
          </a:prstGeom>
        </p:spPr>
      </p:pic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F720A010-A5C2-492A-BFB3-EF26BA74954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0415" y="3574923"/>
            <a:ext cx="869536" cy="869536"/>
          </a:xfrm>
          <a:prstGeom prst="rect">
            <a:avLst/>
          </a:prstGeom>
        </p:spPr>
      </p:pic>
      <p:pic>
        <p:nvPicPr>
          <p:cNvPr id="16" name="Picture 15" descr="Icon&#10;&#10;Description automatically generated">
            <a:extLst>
              <a:ext uri="{FF2B5EF4-FFF2-40B4-BE49-F238E27FC236}">
                <a16:creationId xmlns:a16="http://schemas.microsoft.com/office/drawing/2014/main" id="{7A80D990-B401-4EAA-ABD0-014F06B8EC7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5861" y="2552407"/>
            <a:ext cx="912905" cy="912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8540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37597E-228D-4789-A62F-80F07E1E04FA}"/>
              </a:ext>
            </a:extLst>
          </p:cNvPr>
          <p:cNvSpPr/>
          <p:nvPr/>
        </p:nvSpPr>
        <p:spPr>
          <a:xfrm>
            <a:off x="0" y="0"/>
            <a:ext cx="6095998" cy="6895021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F35BB9-EF1C-40A4-B712-C382C3941380}"/>
              </a:ext>
            </a:extLst>
          </p:cNvPr>
          <p:cNvSpPr/>
          <p:nvPr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9A6D697-F3B8-46B4-BB1D-DD080399DF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550858" y="2530461"/>
            <a:ext cx="6895020" cy="1804737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A8CCE68-CEB1-4DBD-B64A-05F58866373D}"/>
              </a:ext>
            </a:extLst>
          </p:cNvPr>
          <p:cNvSpPr/>
          <p:nvPr/>
        </p:nvSpPr>
        <p:spPr>
          <a:xfrm flipH="1">
            <a:off x="6318982" y="-35749"/>
            <a:ext cx="1565945" cy="6966518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9B8B768F-4202-4EBB-9ADC-D437EEF481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33071" y="934915"/>
            <a:ext cx="2453489" cy="89307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AB629E7-3D90-4130-BB5D-916C74E26078}"/>
              </a:ext>
            </a:extLst>
          </p:cNvPr>
          <p:cNvSpPr txBox="1"/>
          <p:nvPr/>
        </p:nvSpPr>
        <p:spPr>
          <a:xfrm>
            <a:off x="8048380" y="2079376"/>
            <a:ext cx="38197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3600" b="1" dirty="0">
                <a:solidFill>
                  <a:srgbClr val="179DC2"/>
                </a:solidFill>
                <a:latin typeface="Comfortaa" pitchFamily="2" charset="0"/>
                <a:sym typeface="Dosis Light"/>
              </a:rPr>
              <a:t>Agenda</a:t>
            </a:r>
          </a:p>
          <a:p>
            <a:pPr algn="r"/>
            <a:endParaRPr lang="en-US" sz="3600" b="1" dirty="0">
              <a:solidFill>
                <a:srgbClr val="179DC2"/>
              </a:solidFill>
              <a:latin typeface="Comfortaa" pitchFamily="2" charset="0"/>
              <a:sym typeface="Dosis Light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649EB0D-30E0-4254-92D5-CA0391CD20A3}"/>
              </a:ext>
            </a:extLst>
          </p:cNvPr>
          <p:cNvCxnSpPr>
            <a:cxnSpLocks/>
          </p:cNvCxnSpPr>
          <p:nvPr/>
        </p:nvCxnSpPr>
        <p:spPr>
          <a:xfrm>
            <a:off x="8237989" y="1943501"/>
            <a:ext cx="3548571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D253483-0DD0-4C97-A1F3-1A53DBDDB47A}"/>
              </a:ext>
            </a:extLst>
          </p:cNvPr>
          <p:cNvCxnSpPr/>
          <p:nvPr/>
        </p:nvCxnSpPr>
        <p:spPr>
          <a:xfrm>
            <a:off x="1115630" y="0"/>
            <a:ext cx="0" cy="684000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6FDB52C2-7E92-42C3-8F28-6AB3B6D9A565}"/>
              </a:ext>
            </a:extLst>
          </p:cNvPr>
          <p:cNvSpPr/>
          <p:nvPr/>
        </p:nvSpPr>
        <p:spPr>
          <a:xfrm>
            <a:off x="767726" y="1031171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0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C0F13CB-0E49-4DDD-B2B1-52E48A435425}"/>
              </a:ext>
            </a:extLst>
          </p:cNvPr>
          <p:cNvSpPr/>
          <p:nvPr/>
        </p:nvSpPr>
        <p:spPr>
          <a:xfrm>
            <a:off x="767726" y="2750088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DC658E9-C935-45D4-9FA4-5F4F47F66463}"/>
              </a:ext>
            </a:extLst>
          </p:cNvPr>
          <p:cNvSpPr/>
          <p:nvPr/>
        </p:nvSpPr>
        <p:spPr>
          <a:xfrm>
            <a:off x="767726" y="4469004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84E30F9-4F92-4B34-8893-462FF23256A8}"/>
              </a:ext>
            </a:extLst>
          </p:cNvPr>
          <p:cNvSpPr txBox="1"/>
          <p:nvPr/>
        </p:nvSpPr>
        <p:spPr>
          <a:xfrm>
            <a:off x="1592061" y="1096172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Il Curriculum dello studente</a:t>
            </a:r>
          </a:p>
          <a:p>
            <a:r>
              <a:rPr lang="it-IT" sz="1200" dirty="0">
                <a:solidFill>
                  <a:schemeClr val="bg1"/>
                </a:solidFill>
              </a:rPr>
              <a:t>Valore, struttura e riferimenti normativi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1F6BAE7-68BB-4399-BA0B-B1A35B6735D3}"/>
              </a:ext>
            </a:extLst>
          </p:cNvPr>
          <p:cNvSpPr txBox="1"/>
          <p:nvPr/>
        </p:nvSpPr>
        <p:spPr>
          <a:xfrm>
            <a:off x="1592061" y="2815089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Il processo di realizzazione </a:t>
            </a:r>
          </a:p>
          <a:p>
            <a:r>
              <a:rPr lang="it-IT" sz="1200" dirty="0">
                <a:solidFill>
                  <a:schemeClr val="bg1"/>
                </a:solidFill>
              </a:rPr>
              <a:t>Le attività previs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98FBB9B-1226-4C09-9AFC-ED406DFADFEB}"/>
              </a:ext>
            </a:extLst>
          </p:cNvPr>
          <p:cNvSpPr txBox="1"/>
          <p:nvPr/>
        </p:nvSpPr>
        <p:spPr>
          <a:xfrm>
            <a:off x="1592060" y="4307465"/>
            <a:ext cx="45039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L’introduzione del Curriculum nell’anno scolastico 2020/21</a:t>
            </a:r>
          </a:p>
          <a:p>
            <a:r>
              <a:rPr lang="it-IT" sz="1200" dirty="0">
                <a:solidFill>
                  <a:schemeClr val="bg1"/>
                </a:solidFill>
              </a:rPr>
              <a:t>Le operazioni da svolgere e gli strumenti di accompagnamento </a:t>
            </a:r>
          </a:p>
        </p:txBody>
      </p:sp>
    </p:spTree>
    <p:extLst>
      <p:ext uri="{BB962C8B-B14F-4D97-AF65-F5344CB8AC3E}">
        <p14:creationId xmlns:p14="http://schemas.microsoft.com/office/powerpoint/2010/main" val="11683323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215" y="2291"/>
            <a:ext cx="10254886" cy="1325563"/>
          </a:xfrm>
        </p:spPr>
        <p:txBody>
          <a:bodyPr/>
          <a:lstStyle/>
          <a:p>
            <a: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Dosis Light"/>
              </a:rPr>
              <a:t>Le funzioni a disposizione delle scuole</a:t>
            </a:r>
            <a:endParaRPr lang="it-IT" dirty="0">
              <a:sym typeface="Dosis Light"/>
            </a:endParaRPr>
          </a:p>
        </p:txBody>
      </p:sp>
      <p:pic>
        <p:nvPicPr>
          <p:cNvPr id="7" name="Immagine 7">
            <a:extLst>
              <a:ext uri="{FF2B5EF4-FFF2-40B4-BE49-F238E27FC236}">
                <a16:creationId xmlns:a16="http://schemas.microsoft.com/office/drawing/2014/main" id="{6D732DEE-9AD3-42FA-A4AE-692135B07126}"/>
              </a:ext>
            </a:extLst>
          </p:cNvPr>
          <p:cNvPicPr/>
          <p:nvPr/>
        </p:nvPicPr>
        <p:blipFill rotWithShape="1">
          <a:blip r:embed="rId3"/>
          <a:srcRect t="12567" r="36919" b="40832"/>
          <a:stretch/>
        </p:blipFill>
        <p:spPr>
          <a:xfrm>
            <a:off x="1158859" y="1464860"/>
            <a:ext cx="9487588" cy="3928279"/>
          </a:xfrm>
          <a:prstGeom prst="rect">
            <a:avLst/>
          </a:prstGeom>
        </p:spPr>
      </p:pic>
      <p:sp>
        <p:nvSpPr>
          <p:cNvPr id="2" name="Ovale 1">
            <a:extLst>
              <a:ext uri="{FF2B5EF4-FFF2-40B4-BE49-F238E27FC236}">
                <a16:creationId xmlns:a16="http://schemas.microsoft.com/office/drawing/2014/main" id="{C451FEAD-5686-4C92-A4DA-113CF3EC3D7A}"/>
              </a:ext>
            </a:extLst>
          </p:cNvPr>
          <p:cNvSpPr/>
          <p:nvPr/>
        </p:nvSpPr>
        <p:spPr>
          <a:xfrm>
            <a:off x="2838893" y="1190848"/>
            <a:ext cx="2009554" cy="882501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6B7A3B3-3E02-43E4-8A7A-C25CE854DB51}"/>
              </a:ext>
            </a:extLst>
          </p:cNvPr>
          <p:cNvSpPr/>
          <p:nvPr/>
        </p:nvSpPr>
        <p:spPr>
          <a:xfrm>
            <a:off x="4437496" y="4177125"/>
            <a:ext cx="6329058" cy="175714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 scuole accedono all’area dedicata al «Curriculum dello studente» nel SIDI per lo svolgimento delle attività di propria competenza:</a:t>
            </a:r>
          </a:p>
          <a:p>
            <a:pPr marL="3746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it-IT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ilitazione docenti e studenti</a:t>
            </a:r>
          </a:p>
          <a:p>
            <a:pPr marL="3746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olidamento Curriculum </a:t>
            </a:r>
            <a:r>
              <a:rPr kumimoji="0" lang="it-IT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prima e dopo l’esame)</a:t>
            </a: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Rectangle: Rounded Corners 4">
            <a:extLst>
              <a:ext uri="{FF2B5EF4-FFF2-40B4-BE49-F238E27FC236}">
                <a16:creationId xmlns:a16="http://schemas.microsoft.com/office/drawing/2014/main" id="{923F2F69-7767-46EF-A557-6A50624492E4}"/>
              </a:ext>
            </a:extLst>
          </p:cNvPr>
          <p:cNvSpPr/>
          <p:nvPr/>
        </p:nvSpPr>
        <p:spPr>
          <a:xfrm>
            <a:off x="1089242" y="2218843"/>
            <a:ext cx="1749651" cy="297568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0" name="Rectangle: Rounded Corners 4">
            <a:extLst>
              <a:ext uri="{FF2B5EF4-FFF2-40B4-BE49-F238E27FC236}">
                <a16:creationId xmlns:a16="http://schemas.microsoft.com/office/drawing/2014/main" id="{5196AECA-AD5C-448D-9586-C35B760E76C0}"/>
              </a:ext>
            </a:extLst>
          </p:cNvPr>
          <p:cNvSpPr/>
          <p:nvPr/>
        </p:nvSpPr>
        <p:spPr>
          <a:xfrm>
            <a:off x="1089241" y="2525177"/>
            <a:ext cx="1749651" cy="297568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47412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6" grpId="0" animBg="1"/>
      <p:bldP spid="8" grpId="0" animBg="1"/>
      <p:bldP spid="10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8">
            <a:extLst>
              <a:ext uri="{FF2B5EF4-FFF2-40B4-BE49-F238E27FC236}">
                <a16:creationId xmlns:a16="http://schemas.microsoft.com/office/drawing/2014/main" id="{0CFF35F6-67FA-496D-A705-2474128693BD}"/>
              </a:ext>
            </a:extLst>
          </p:cNvPr>
          <p:cNvSpPr txBox="1">
            <a:spLocks/>
          </p:cNvSpPr>
          <p:nvPr/>
        </p:nvSpPr>
        <p:spPr>
          <a:xfrm>
            <a:off x="229623" y="-115759"/>
            <a:ext cx="10254886" cy="1325563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844083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it-IT" sz="3600" dirty="0">
                <a:solidFill>
                  <a:prstClr val="black"/>
                </a:solidFill>
                <a:sym typeface="Dosis Light"/>
              </a:rPr>
              <a:t>Le funzioni a disposizione delle scuole</a:t>
            </a:r>
          </a:p>
          <a:p>
            <a:pPr>
              <a:lnSpc>
                <a:spcPct val="100000"/>
              </a:lnSpc>
            </a:pPr>
            <a:r>
              <a:rPr lang="it-IT" sz="2500" b="0" i="1" dirty="0">
                <a:solidFill>
                  <a:prstClr val="black"/>
                </a:solidFill>
                <a:sym typeface="Dosis Light"/>
              </a:rPr>
              <a:t>Abilitazione docenti/studenti</a:t>
            </a:r>
            <a:endParaRPr lang="it-IT" sz="2500" b="0" i="1" dirty="0">
              <a:sym typeface="Dosis Light"/>
            </a:endParaRPr>
          </a:p>
        </p:txBody>
      </p:sp>
      <p:pic>
        <p:nvPicPr>
          <p:cNvPr id="4" name="Immagine 7">
            <a:extLst>
              <a:ext uri="{FF2B5EF4-FFF2-40B4-BE49-F238E27FC236}">
                <a16:creationId xmlns:a16="http://schemas.microsoft.com/office/drawing/2014/main" id="{EBEB5841-07E6-4A87-875F-148E8A42AE3F}"/>
              </a:ext>
            </a:extLst>
          </p:cNvPr>
          <p:cNvPicPr/>
          <p:nvPr/>
        </p:nvPicPr>
        <p:blipFill rotWithShape="1">
          <a:blip r:embed="rId2"/>
          <a:srcRect t="12567" r="36919" b="40832"/>
          <a:stretch/>
        </p:blipFill>
        <p:spPr>
          <a:xfrm>
            <a:off x="354967" y="1182356"/>
            <a:ext cx="5409477" cy="2129504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C8CF7CE-DE6A-485C-8AEC-CA1AD7562D21}"/>
              </a:ext>
            </a:extLst>
          </p:cNvPr>
          <p:cNvSpPr/>
          <p:nvPr/>
        </p:nvSpPr>
        <p:spPr>
          <a:xfrm>
            <a:off x="335295" y="1572287"/>
            <a:ext cx="1048083" cy="211091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pic>
        <p:nvPicPr>
          <p:cNvPr id="6" name="Picture 34">
            <a:extLst>
              <a:ext uri="{FF2B5EF4-FFF2-40B4-BE49-F238E27FC236}">
                <a16:creationId xmlns:a16="http://schemas.microsoft.com/office/drawing/2014/main" id="{9E88DD43-4464-415F-8F88-E2E3115B7B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45163">
            <a:off x="390923" y="1755984"/>
            <a:ext cx="560659" cy="560659"/>
          </a:xfrm>
          <a:prstGeom prst="rect">
            <a:avLst/>
          </a:prstGeom>
        </p:spPr>
      </p:pic>
      <p:pic>
        <p:nvPicPr>
          <p:cNvPr id="7" name="Immagine 11">
            <a:extLst>
              <a:ext uri="{FF2B5EF4-FFF2-40B4-BE49-F238E27FC236}">
                <a16:creationId xmlns:a16="http://schemas.microsoft.com/office/drawing/2014/main" id="{D68907F3-A92B-4236-AB52-65C4E0F94997}"/>
              </a:ext>
            </a:extLst>
          </p:cNvPr>
          <p:cNvPicPr/>
          <p:nvPr/>
        </p:nvPicPr>
        <p:blipFill rotWithShape="1">
          <a:blip r:embed="rId4"/>
          <a:srcRect l="-103" t="13945" r="88675" b="49999"/>
          <a:stretch/>
        </p:blipFill>
        <p:spPr>
          <a:xfrm>
            <a:off x="1383378" y="2007820"/>
            <a:ext cx="2295144" cy="3198501"/>
          </a:xfrm>
          <a:prstGeom prst="rect">
            <a:avLst/>
          </a:prstGeom>
        </p:spPr>
      </p:pic>
      <p:sp>
        <p:nvSpPr>
          <p:cNvPr id="10" name="Rectangle: Rounded Corners 4">
            <a:extLst>
              <a:ext uri="{FF2B5EF4-FFF2-40B4-BE49-F238E27FC236}">
                <a16:creationId xmlns:a16="http://schemas.microsoft.com/office/drawing/2014/main" id="{460198E1-53CA-4108-981A-2C68841A854D}"/>
              </a:ext>
            </a:extLst>
          </p:cNvPr>
          <p:cNvSpPr/>
          <p:nvPr/>
        </p:nvSpPr>
        <p:spPr>
          <a:xfrm>
            <a:off x="1383378" y="3013281"/>
            <a:ext cx="2295144" cy="224442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2858E58-7AE8-4125-B840-88E28C82C4E2}"/>
              </a:ext>
            </a:extLst>
          </p:cNvPr>
          <p:cNvGrpSpPr/>
          <p:nvPr/>
        </p:nvGrpSpPr>
        <p:grpSpPr>
          <a:xfrm>
            <a:off x="6443399" y="5642458"/>
            <a:ext cx="5046482" cy="982888"/>
            <a:chOff x="4938087" y="5835138"/>
            <a:chExt cx="4958118" cy="754066"/>
          </a:xfrm>
        </p:grpSpPr>
        <p:sp>
          <p:nvSpPr>
            <p:cNvPr id="14" name="Rectangle: Rounded Corners 54">
              <a:extLst>
                <a:ext uri="{FF2B5EF4-FFF2-40B4-BE49-F238E27FC236}">
                  <a16:creationId xmlns:a16="http://schemas.microsoft.com/office/drawing/2014/main" id="{CBB8F1DB-EE20-42A5-8033-3E8C24FDF14A}"/>
                </a:ext>
              </a:extLst>
            </p:cNvPr>
            <p:cNvSpPr/>
            <p:nvPr/>
          </p:nvSpPr>
          <p:spPr>
            <a:xfrm>
              <a:off x="4938087" y="5920897"/>
              <a:ext cx="4958118" cy="668307"/>
            </a:xfrm>
            <a:prstGeom prst="roundRect">
              <a:avLst>
                <a:gd name="adj" fmla="val 50000"/>
              </a:avLst>
            </a:prstGeom>
            <a:solidFill>
              <a:srgbClr val="179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endParaRPr lang="it-IT" sz="1200" i="1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6">
              <a:extLst>
                <a:ext uri="{FF2B5EF4-FFF2-40B4-BE49-F238E27FC236}">
                  <a16:creationId xmlns:a16="http://schemas.microsoft.com/office/drawing/2014/main" id="{A31BC99D-0474-4E62-BD10-212F3E25A3EF}"/>
                </a:ext>
              </a:extLst>
            </p:cNvPr>
            <p:cNvSpPr/>
            <p:nvPr/>
          </p:nvSpPr>
          <p:spPr>
            <a:xfrm>
              <a:off x="4999433" y="5972656"/>
              <a:ext cx="608540" cy="564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i="1" dirty="0" err="1">
                <a:solidFill>
                  <a:schemeClr val="bg1"/>
                </a:solidFill>
              </a:endParaRPr>
            </a:p>
          </p:txBody>
        </p:sp>
        <p:sp>
          <p:nvSpPr>
            <p:cNvPr id="16" name="Rectangle 17">
              <a:extLst>
                <a:ext uri="{FF2B5EF4-FFF2-40B4-BE49-F238E27FC236}">
                  <a16:creationId xmlns:a16="http://schemas.microsoft.com/office/drawing/2014/main" id="{29DBF31D-D763-415C-945A-8B2629AB0F5F}"/>
                </a:ext>
              </a:extLst>
            </p:cNvPr>
            <p:cNvSpPr/>
            <p:nvPr/>
          </p:nvSpPr>
          <p:spPr>
            <a:xfrm>
              <a:off x="5669319" y="5989203"/>
              <a:ext cx="3860062" cy="521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r>
                <a:rPr lang="it-IT" sz="1200" i="1" dirty="0">
                  <a:solidFill>
                    <a:prstClr val="black"/>
                  </a:solidFill>
                </a:rPr>
                <a:t>È opportuna l’abilitazione dei docenti individuati come commissari d’esame e, tra essi, dei docenti di riferimento per accompagnare nella stesura dell’elaborato</a:t>
              </a:r>
            </a:p>
          </p:txBody>
        </p:sp>
        <p:pic>
          <p:nvPicPr>
            <p:cNvPr id="17" name="Graphic 57" descr="Magnifying glass">
              <a:extLst>
                <a:ext uri="{FF2B5EF4-FFF2-40B4-BE49-F238E27FC236}">
                  <a16:creationId xmlns:a16="http://schemas.microsoft.com/office/drawing/2014/main" id="{8198AC79-066F-4D21-88E5-44724ED892C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5108168" y="5835138"/>
              <a:ext cx="567771" cy="567771"/>
            </a:xfrm>
            <a:prstGeom prst="rect">
              <a:avLst/>
            </a:prstGeom>
          </p:spPr>
        </p:pic>
      </p:grpSp>
      <p:pic>
        <p:nvPicPr>
          <p:cNvPr id="23" name="Immagine 57">
            <a:extLst>
              <a:ext uri="{FF2B5EF4-FFF2-40B4-BE49-F238E27FC236}">
                <a16:creationId xmlns:a16="http://schemas.microsoft.com/office/drawing/2014/main" id="{5506ECEB-CF7B-48C0-988B-82D0FBE19C38}"/>
              </a:ext>
            </a:extLst>
          </p:cNvPr>
          <p:cNvPicPr/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77993" y="2279383"/>
            <a:ext cx="6606516" cy="2958037"/>
          </a:xfrm>
          <a:prstGeom prst="rect">
            <a:avLst/>
          </a:prstGeom>
        </p:spPr>
      </p:pic>
      <p:sp>
        <p:nvSpPr>
          <p:cNvPr id="24" name="Rectangle: Rounded Corners 11">
            <a:extLst>
              <a:ext uri="{FF2B5EF4-FFF2-40B4-BE49-F238E27FC236}">
                <a16:creationId xmlns:a16="http://schemas.microsoft.com/office/drawing/2014/main" id="{73DE8C97-AE52-4E69-9CB4-D611839B52BB}"/>
              </a:ext>
            </a:extLst>
          </p:cNvPr>
          <p:cNvSpPr/>
          <p:nvPr/>
        </p:nvSpPr>
        <p:spPr>
          <a:xfrm>
            <a:off x="9363221" y="2804820"/>
            <a:ext cx="1121288" cy="208461"/>
          </a:xfrm>
          <a:prstGeom prst="roundRect">
            <a:avLst>
              <a:gd name="adj" fmla="val 45685"/>
            </a:avLst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grpSp>
        <p:nvGrpSpPr>
          <p:cNvPr id="25" name="Group 12">
            <a:extLst>
              <a:ext uri="{FF2B5EF4-FFF2-40B4-BE49-F238E27FC236}">
                <a16:creationId xmlns:a16="http://schemas.microsoft.com/office/drawing/2014/main" id="{85C0FD22-E298-4BF3-94CB-B94ADAD9DDCF}"/>
              </a:ext>
            </a:extLst>
          </p:cNvPr>
          <p:cNvGrpSpPr/>
          <p:nvPr/>
        </p:nvGrpSpPr>
        <p:grpSpPr>
          <a:xfrm>
            <a:off x="6898587" y="1300799"/>
            <a:ext cx="4958118" cy="754066"/>
            <a:chOff x="4938087" y="5835138"/>
            <a:chExt cx="4958118" cy="754066"/>
          </a:xfrm>
        </p:grpSpPr>
        <p:sp>
          <p:nvSpPr>
            <p:cNvPr id="26" name="Rectangle: Rounded Corners 54">
              <a:extLst>
                <a:ext uri="{FF2B5EF4-FFF2-40B4-BE49-F238E27FC236}">
                  <a16:creationId xmlns:a16="http://schemas.microsoft.com/office/drawing/2014/main" id="{5C030442-DD5B-4B57-9156-C0422BA57763}"/>
                </a:ext>
              </a:extLst>
            </p:cNvPr>
            <p:cNvSpPr/>
            <p:nvPr/>
          </p:nvSpPr>
          <p:spPr>
            <a:xfrm>
              <a:off x="4938087" y="5920897"/>
              <a:ext cx="4958118" cy="668307"/>
            </a:xfrm>
            <a:prstGeom prst="roundRect">
              <a:avLst>
                <a:gd name="adj" fmla="val 50000"/>
              </a:avLst>
            </a:prstGeom>
            <a:solidFill>
              <a:srgbClr val="179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endParaRPr lang="it-IT" sz="1200" i="1" dirty="0">
                <a:solidFill>
                  <a:schemeClr val="tx1"/>
                </a:solidFill>
              </a:endParaRPr>
            </a:p>
          </p:txBody>
        </p:sp>
        <p:sp>
          <p:nvSpPr>
            <p:cNvPr id="27" name="Oval 16">
              <a:extLst>
                <a:ext uri="{FF2B5EF4-FFF2-40B4-BE49-F238E27FC236}">
                  <a16:creationId xmlns:a16="http://schemas.microsoft.com/office/drawing/2014/main" id="{EA0BBA0F-6D57-4A6C-B712-C65153C79A3E}"/>
                </a:ext>
              </a:extLst>
            </p:cNvPr>
            <p:cNvSpPr/>
            <p:nvPr/>
          </p:nvSpPr>
          <p:spPr>
            <a:xfrm>
              <a:off x="4999433" y="5972656"/>
              <a:ext cx="608540" cy="564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i="1" dirty="0" err="1">
                <a:solidFill>
                  <a:schemeClr val="bg1"/>
                </a:solidFill>
              </a:endParaRPr>
            </a:p>
          </p:txBody>
        </p:sp>
        <p:sp>
          <p:nvSpPr>
            <p:cNvPr id="28" name="Rectangle 17">
              <a:extLst>
                <a:ext uri="{FF2B5EF4-FFF2-40B4-BE49-F238E27FC236}">
                  <a16:creationId xmlns:a16="http://schemas.microsoft.com/office/drawing/2014/main" id="{4901BA4B-3088-4655-BFFC-5B359D7534B9}"/>
                </a:ext>
              </a:extLst>
            </p:cNvPr>
            <p:cNvSpPr/>
            <p:nvPr/>
          </p:nvSpPr>
          <p:spPr>
            <a:xfrm>
              <a:off x="5669319" y="5989203"/>
              <a:ext cx="3860062" cy="521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r>
                <a:rPr lang="it-IT" sz="1200" i="1" dirty="0">
                  <a:solidFill>
                    <a:prstClr val="black"/>
                  </a:solidFill>
                </a:rPr>
                <a:t>I docenti vengono abilitati tramite l’associazione alle classi di competenza per poter visualizzare il Curriculum dei loro studenti</a:t>
              </a:r>
            </a:p>
          </p:txBody>
        </p:sp>
        <p:pic>
          <p:nvPicPr>
            <p:cNvPr id="29" name="Graphic 57" descr="Magnifying glass">
              <a:extLst>
                <a:ext uri="{FF2B5EF4-FFF2-40B4-BE49-F238E27FC236}">
                  <a16:creationId xmlns:a16="http://schemas.microsoft.com/office/drawing/2014/main" id="{D531CC95-AB33-4C85-ABE6-2DF06FB1F8B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5108168" y="5835138"/>
              <a:ext cx="567771" cy="567771"/>
            </a:xfrm>
            <a:prstGeom prst="rect">
              <a:avLst/>
            </a:prstGeom>
          </p:spPr>
        </p:pic>
      </p:grpSp>
      <p:sp>
        <p:nvSpPr>
          <p:cNvPr id="31" name="Freeform 19">
            <a:extLst>
              <a:ext uri="{FF2B5EF4-FFF2-40B4-BE49-F238E27FC236}">
                <a16:creationId xmlns:a16="http://schemas.microsoft.com/office/drawing/2014/main" id="{93D0EEE2-9452-490A-84CF-F233C8C3DC5F}"/>
              </a:ext>
            </a:extLst>
          </p:cNvPr>
          <p:cNvSpPr>
            <a:spLocks noChangeAspect="1" noEditPoints="1"/>
          </p:cNvSpPr>
          <p:nvPr/>
        </p:nvSpPr>
        <p:spPr bwMode="auto">
          <a:xfrm rot="17231787" flipH="1" flipV="1">
            <a:off x="10391951" y="2224355"/>
            <a:ext cx="907433" cy="392423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60859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0" grpId="0" animBg="1"/>
      <p:bldP spid="24" grpId="0" animBg="1"/>
      <p:bldP spid="31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7">
            <a:extLst>
              <a:ext uri="{FF2B5EF4-FFF2-40B4-BE49-F238E27FC236}">
                <a16:creationId xmlns:a16="http://schemas.microsoft.com/office/drawing/2014/main" id="{EBEB5841-07E6-4A87-875F-148E8A42AE3F}"/>
              </a:ext>
            </a:extLst>
          </p:cNvPr>
          <p:cNvPicPr/>
          <p:nvPr/>
        </p:nvPicPr>
        <p:blipFill rotWithShape="1">
          <a:blip r:embed="rId2"/>
          <a:srcRect t="12567" r="36919" b="40832"/>
          <a:stretch/>
        </p:blipFill>
        <p:spPr>
          <a:xfrm>
            <a:off x="751098" y="1617052"/>
            <a:ext cx="5409477" cy="2129504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C8CF7CE-DE6A-485C-8AEC-CA1AD7562D21}"/>
              </a:ext>
            </a:extLst>
          </p:cNvPr>
          <p:cNvSpPr/>
          <p:nvPr/>
        </p:nvSpPr>
        <p:spPr>
          <a:xfrm>
            <a:off x="662628" y="2005552"/>
            <a:ext cx="1119677" cy="217989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pic>
        <p:nvPicPr>
          <p:cNvPr id="6" name="Picture 34">
            <a:extLst>
              <a:ext uri="{FF2B5EF4-FFF2-40B4-BE49-F238E27FC236}">
                <a16:creationId xmlns:a16="http://schemas.microsoft.com/office/drawing/2014/main" id="{9E88DD43-4464-415F-8F88-E2E3115B7B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45163">
            <a:off x="351444" y="2140238"/>
            <a:ext cx="560659" cy="560659"/>
          </a:xfrm>
          <a:prstGeom prst="rect">
            <a:avLst/>
          </a:prstGeom>
        </p:spPr>
      </p:pic>
      <p:pic>
        <p:nvPicPr>
          <p:cNvPr id="7" name="Immagine 11">
            <a:extLst>
              <a:ext uri="{FF2B5EF4-FFF2-40B4-BE49-F238E27FC236}">
                <a16:creationId xmlns:a16="http://schemas.microsoft.com/office/drawing/2014/main" id="{D68907F3-A92B-4236-AB52-65C4E0F94997}"/>
              </a:ext>
            </a:extLst>
          </p:cNvPr>
          <p:cNvPicPr/>
          <p:nvPr/>
        </p:nvPicPr>
        <p:blipFill rotWithShape="1">
          <a:blip r:embed="rId4"/>
          <a:srcRect l="-103" t="13945" r="88675" b="49999"/>
          <a:stretch/>
        </p:blipFill>
        <p:spPr>
          <a:xfrm>
            <a:off x="1782305" y="1929632"/>
            <a:ext cx="2295144" cy="3198501"/>
          </a:xfrm>
          <a:prstGeom prst="rect">
            <a:avLst/>
          </a:prstGeom>
        </p:spPr>
      </p:pic>
      <p:sp>
        <p:nvSpPr>
          <p:cNvPr id="8" name="Rectangle: Rounded Corners 4">
            <a:extLst>
              <a:ext uri="{FF2B5EF4-FFF2-40B4-BE49-F238E27FC236}">
                <a16:creationId xmlns:a16="http://schemas.microsoft.com/office/drawing/2014/main" id="{FC7D0ED7-F827-43F9-8C1D-9C3A6FDABC3B}"/>
              </a:ext>
            </a:extLst>
          </p:cNvPr>
          <p:cNvSpPr/>
          <p:nvPr/>
        </p:nvSpPr>
        <p:spPr>
          <a:xfrm>
            <a:off x="1782305" y="3199649"/>
            <a:ext cx="2295144" cy="229351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2858E58-7AE8-4125-B840-88E28C82C4E2}"/>
              </a:ext>
            </a:extLst>
          </p:cNvPr>
          <p:cNvGrpSpPr/>
          <p:nvPr/>
        </p:nvGrpSpPr>
        <p:grpSpPr>
          <a:xfrm>
            <a:off x="5810264" y="5805807"/>
            <a:ext cx="4958118" cy="754066"/>
            <a:chOff x="4938087" y="5835138"/>
            <a:chExt cx="4958118" cy="754066"/>
          </a:xfrm>
        </p:grpSpPr>
        <p:sp>
          <p:nvSpPr>
            <p:cNvPr id="14" name="Rectangle: Rounded Corners 54">
              <a:extLst>
                <a:ext uri="{FF2B5EF4-FFF2-40B4-BE49-F238E27FC236}">
                  <a16:creationId xmlns:a16="http://schemas.microsoft.com/office/drawing/2014/main" id="{CBB8F1DB-EE20-42A5-8033-3E8C24FDF14A}"/>
                </a:ext>
              </a:extLst>
            </p:cNvPr>
            <p:cNvSpPr/>
            <p:nvPr/>
          </p:nvSpPr>
          <p:spPr>
            <a:xfrm>
              <a:off x="4938087" y="5920897"/>
              <a:ext cx="4958118" cy="668307"/>
            </a:xfrm>
            <a:prstGeom prst="roundRect">
              <a:avLst>
                <a:gd name="adj" fmla="val 50000"/>
              </a:avLst>
            </a:prstGeom>
            <a:solidFill>
              <a:srgbClr val="179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endParaRPr lang="it-IT" sz="1200" i="1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6">
              <a:extLst>
                <a:ext uri="{FF2B5EF4-FFF2-40B4-BE49-F238E27FC236}">
                  <a16:creationId xmlns:a16="http://schemas.microsoft.com/office/drawing/2014/main" id="{A31BC99D-0474-4E62-BD10-212F3E25A3EF}"/>
                </a:ext>
              </a:extLst>
            </p:cNvPr>
            <p:cNvSpPr/>
            <p:nvPr/>
          </p:nvSpPr>
          <p:spPr>
            <a:xfrm>
              <a:off x="4999433" y="5972656"/>
              <a:ext cx="608540" cy="564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i="1" dirty="0" err="1">
                <a:solidFill>
                  <a:schemeClr val="bg1"/>
                </a:solidFill>
              </a:endParaRPr>
            </a:p>
          </p:txBody>
        </p:sp>
        <p:sp>
          <p:nvSpPr>
            <p:cNvPr id="16" name="Rectangle 17">
              <a:extLst>
                <a:ext uri="{FF2B5EF4-FFF2-40B4-BE49-F238E27FC236}">
                  <a16:creationId xmlns:a16="http://schemas.microsoft.com/office/drawing/2014/main" id="{29DBF31D-D763-415C-945A-8B2629AB0F5F}"/>
                </a:ext>
              </a:extLst>
            </p:cNvPr>
            <p:cNvSpPr/>
            <p:nvPr/>
          </p:nvSpPr>
          <p:spPr>
            <a:xfrm>
              <a:off x="5669319" y="5989203"/>
              <a:ext cx="3860062" cy="521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r>
                <a:rPr lang="it-IT" sz="1200" i="1" dirty="0">
                  <a:solidFill>
                    <a:prstClr val="black"/>
                  </a:solidFill>
                </a:rPr>
                <a:t>Gli studenti potranno accedere alla piattaforma del «Curriculum dello studente» </a:t>
              </a:r>
              <a:r>
                <a:rPr lang="it-IT" sz="1200" b="1" i="1" dirty="0">
                  <a:solidFill>
                    <a:prstClr val="black"/>
                  </a:solidFill>
                </a:rPr>
                <a:t>solo se correttamente abilitati dalla segreteria.</a:t>
              </a:r>
            </a:p>
          </p:txBody>
        </p:sp>
        <p:pic>
          <p:nvPicPr>
            <p:cNvPr id="17" name="Graphic 57" descr="Magnifying glass">
              <a:extLst>
                <a:ext uri="{FF2B5EF4-FFF2-40B4-BE49-F238E27FC236}">
                  <a16:creationId xmlns:a16="http://schemas.microsoft.com/office/drawing/2014/main" id="{8198AC79-066F-4D21-88E5-44724ED892C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5108168" y="5835138"/>
              <a:ext cx="567771" cy="567771"/>
            </a:xfrm>
            <a:prstGeom prst="rect">
              <a:avLst/>
            </a:prstGeom>
          </p:spPr>
        </p:pic>
      </p:grpSp>
      <p:grpSp>
        <p:nvGrpSpPr>
          <p:cNvPr id="18" name="Group 19">
            <a:extLst>
              <a:ext uri="{FF2B5EF4-FFF2-40B4-BE49-F238E27FC236}">
                <a16:creationId xmlns:a16="http://schemas.microsoft.com/office/drawing/2014/main" id="{E9726E99-8985-4548-BEC4-9F5433D8CD12}"/>
              </a:ext>
            </a:extLst>
          </p:cNvPr>
          <p:cNvGrpSpPr/>
          <p:nvPr/>
        </p:nvGrpSpPr>
        <p:grpSpPr>
          <a:xfrm>
            <a:off x="6482784" y="1099139"/>
            <a:ext cx="4958118" cy="754066"/>
            <a:chOff x="4938087" y="5835138"/>
            <a:chExt cx="4958118" cy="754066"/>
          </a:xfrm>
        </p:grpSpPr>
        <p:sp>
          <p:nvSpPr>
            <p:cNvPr id="19" name="Rectangle: Rounded Corners 54">
              <a:extLst>
                <a:ext uri="{FF2B5EF4-FFF2-40B4-BE49-F238E27FC236}">
                  <a16:creationId xmlns:a16="http://schemas.microsoft.com/office/drawing/2014/main" id="{ED0344F0-B82A-40D8-90B3-23728FD433EA}"/>
                </a:ext>
              </a:extLst>
            </p:cNvPr>
            <p:cNvSpPr/>
            <p:nvPr/>
          </p:nvSpPr>
          <p:spPr>
            <a:xfrm>
              <a:off x="4938087" y="5920897"/>
              <a:ext cx="4958118" cy="668307"/>
            </a:xfrm>
            <a:prstGeom prst="roundRect">
              <a:avLst>
                <a:gd name="adj" fmla="val 50000"/>
              </a:avLst>
            </a:prstGeom>
            <a:solidFill>
              <a:srgbClr val="179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endParaRPr lang="it-IT" sz="1200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22">
              <a:extLst>
                <a:ext uri="{FF2B5EF4-FFF2-40B4-BE49-F238E27FC236}">
                  <a16:creationId xmlns:a16="http://schemas.microsoft.com/office/drawing/2014/main" id="{6EA2E644-384E-4813-92CB-0B533451C209}"/>
                </a:ext>
              </a:extLst>
            </p:cNvPr>
            <p:cNvSpPr/>
            <p:nvPr/>
          </p:nvSpPr>
          <p:spPr>
            <a:xfrm>
              <a:off x="4999433" y="5972656"/>
              <a:ext cx="608540" cy="564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dirty="0" err="1">
                <a:solidFill>
                  <a:schemeClr val="bg1"/>
                </a:solidFill>
              </a:endParaRPr>
            </a:p>
          </p:txBody>
        </p:sp>
        <p:sp>
          <p:nvSpPr>
            <p:cNvPr id="21" name="Rectangle 25">
              <a:extLst>
                <a:ext uri="{FF2B5EF4-FFF2-40B4-BE49-F238E27FC236}">
                  <a16:creationId xmlns:a16="http://schemas.microsoft.com/office/drawing/2014/main" id="{A471422A-114C-45F9-BF73-793FEA7593BF}"/>
                </a:ext>
              </a:extLst>
            </p:cNvPr>
            <p:cNvSpPr/>
            <p:nvPr/>
          </p:nvSpPr>
          <p:spPr>
            <a:xfrm>
              <a:off x="5669319" y="5989203"/>
              <a:ext cx="3860062" cy="53169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r>
                <a:rPr lang="it-IT" sz="1200" i="1" dirty="0">
                  <a:solidFill>
                    <a:prstClr val="black"/>
                  </a:solidFill>
                </a:rPr>
                <a:t>Per procedere all’abilitazione, </a:t>
              </a:r>
              <a:r>
                <a:rPr lang="it-IT" sz="1200" b="1" i="1" dirty="0">
                  <a:solidFill>
                    <a:prstClr val="black"/>
                  </a:solidFill>
                </a:rPr>
                <a:t>è necessario che lo studente abbia già effettuato la registrazione all’area riservata del Ministero dell’Istruzione</a:t>
              </a:r>
            </a:p>
          </p:txBody>
        </p:sp>
        <p:pic>
          <p:nvPicPr>
            <p:cNvPr id="22" name="Graphic 57" descr="Magnifying glass">
              <a:extLst>
                <a:ext uri="{FF2B5EF4-FFF2-40B4-BE49-F238E27FC236}">
                  <a16:creationId xmlns:a16="http://schemas.microsoft.com/office/drawing/2014/main" id="{A6B9B228-F8CB-47C2-AE97-3C565563A0D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5108168" y="5835138"/>
              <a:ext cx="567771" cy="567771"/>
            </a:xfrm>
            <a:prstGeom prst="rect">
              <a:avLst/>
            </a:prstGeom>
          </p:spPr>
        </p:pic>
      </p:grpSp>
      <p:pic>
        <p:nvPicPr>
          <p:cNvPr id="23" name="Immagine 57">
            <a:extLst>
              <a:ext uri="{FF2B5EF4-FFF2-40B4-BE49-F238E27FC236}">
                <a16:creationId xmlns:a16="http://schemas.microsoft.com/office/drawing/2014/main" id="{C39482F5-B25E-4161-8535-F6F77005B0B7}"/>
              </a:ext>
            </a:extLst>
          </p:cNvPr>
          <p:cNvPicPr/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90891" y="2307151"/>
            <a:ext cx="8051037" cy="3099832"/>
          </a:xfrm>
          <a:prstGeom prst="rect">
            <a:avLst/>
          </a:prstGeom>
        </p:spPr>
      </p:pic>
      <p:sp>
        <p:nvSpPr>
          <p:cNvPr id="30" name="Rectangle: Rounded Corners 5">
            <a:extLst>
              <a:ext uri="{FF2B5EF4-FFF2-40B4-BE49-F238E27FC236}">
                <a16:creationId xmlns:a16="http://schemas.microsoft.com/office/drawing/2014/main" id="{7C1A8065-F0BC-4BB9-8DBA-59D6F371E625}"/>
              </a:ext>
            </a:extLst>
          </p:cNvPr>
          <p:cNvSpPr/>
          <p:nvPr/>
        </p:nvSpPr>
        <p:spPr>
          <a:xfrm>
            <a:off x="5293806" y="3437800"/>
            <a:ext cx="254465" cy="1329771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31" name="Freeform 19">
            <a:extLst>
              <a:ext uri="{FF2B5EF4-FFF2-40B4-BE49-F238E27FC236}">
                <a16:creationId xmlns:a16="http://schemas.microsoft.com/office/drawing/2014/main" id="{811BAD85-4C60-455D-A62E-46B8C39B7F45}"/>
              </a:ext>
            </a:extLst>
          </p:cNvPr>
          <p:cNvSpPr>
            <a:spLocks noChangeAspect="1" noEditPoints="1"/>
          </p:cNvSpPr>
          <p:nvPr/>
        </p:nvSpPr>
        <p:spPr bwMode="auto">
          <a:xfrm rot="18157096">
            <a:off x="4187045" y="4045997"/>
            <a:ext cx="1162845" cy="443889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1218987"/>
            <a:endParaRPr lang="en-US" sz="2399" dirty="0">
              <a:solidFill>
                <a:prstClr val="black"/>
              </a:solidFill>
            </a:endParaRPr>
          </a:p>
        </p:txBody>
      </p:sp>
      <p:pic>
        <p:nvPicPr>
          <p:cNvPr id="32" name="Picture 8">
            <a:extLst>
              <a:ext uri="{FF2B5EF4-FFF2-40B4-BE49-F238E27FC236}">
                <a16:creationId xmlns:a16="http://schemas.microsoft.com/office/drawing/2014/main" id="{5FCDE559-547E-4F4F-AEA8-819C8295DFE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358298">
            <a:off x="5267942" y="3573823"/>
            <a:ext cx="560659" cy="560659"/>
          </a:xfrm>
          <a:prstGeom prst="rect">
            <a:avLst/>
          </a:prstGeom>
        </p:spPr>
      </p:pic>
      <p:sp>
        <p:nvSpPr>
          <p:cNvPr id="2" name="CasellaDiTesto 1">
            <a:extLst>
              <a:ext uri="{FF2B5EF4-FFF2-40B4-BE49-F238E27FC236}">
                <a16:creationId xmlns:a16="http://schemas.microsoft.com/office/drawing/2014/main" id="{AB2C2267-1C5C-432B-ACF4-64E29C929B5A}"/>
              </a:ext>
            </a:extLst>
          </p:cNvPr>
          <p:cNvSpPr txBox="1"/>
          <p:nvPr/>
        </p:nvSpPr>
        <p:spPr>
          <a:xfrm>
            <a:off x="2034073" y="4871027"/>
            <a:ext cx="3130559" cy="722616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endParaRPr lang="it-IT" sz="14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pSp>
        <p:nvGrpSpPr>
          <p:cNvPr id="33" name="Group 12">
            <a:extLst>
              <a:ext uri="{FF2B5EF4-FFF2-40B4-BE49-F238E27FC236}">
                <a16:creationId xmlns:a16="http://schemas.microsoft.com/office/drawing/2014/main" id="{028695E7-60A2-45FF-80D0-2E2BE576218D}"/>
              </a:ext>
            </a:extLst>
          </p:cNvPr>
          <p:cNvGrpSpPr/>
          <p:nvPr/>
        </p:nvGrpSpPr>
        <p:grpSpPr>
          <a:xfrm>
            <a:off x="366011" y="4704224"/>
            <a:ext cx="4958118" cy="754066"/>
            <a:chOff x="4938087" y="5835138"/>
            <a:chExt cx="4958118" cy="754066"/>
          </a:xfrm>
        </p:grpSpPr>
        <p:sp>
          <p:nvSpPr>
            <p:cNvPr id="34" name="Rectangle: Rounded Corners 54">
              <a:extLst>
                <a:ext uri="{FF2B5EF4-FFF2-40B4-BE49-F238E27FC236}">
                  <a16:creationId xmlns:a16="http://schemas.microsoft.com/office/drawing/2014/main" id="{D17CA06B-53FE-4042-806B-D182EED298A3}"/>
                </a:ext>
              </a:extLst>
            </p:cNvPr>
            <p:cNvSpPr/>
            <p:nvPr/>
          </p:nvSpPr>
          <p:spPr>
            <a:xfrm>
              <a:off x="4938087" y="5920897"/>
              <a:ext cx="4958118" cy="668307"/>
            </a:xfrm>
            <a:prstGeom prst="roundRect">
              <a:avLst>
                <a:gd name="adj" fmla="val 50000"/>
              </a:avLst>
            </a:prstGeom>
            <a:solidFill>
              <a:srgbClr val="179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endParaRPr lang="it-IT" sz="1200" i="1" dirty="0">
                <a:solidFill>
                  <a:schemeClr val="tx1"/>
                </a:solidFill>
              </a:endParaRPr>
            </a:p>
          </p:txBody>
        </p:sp>
        <p:sp>
          <p:nvSpPr>
            <p:cNvPr id="35" name="Oval 16">
              <a:extLst>
                <a:ext uri="{FF2B5EF4-FFF2-40B4-BE49-F238E27FC236}">
                  <a16:creationId xmlns:a16="http://schemas.microsoft.com/office/drawing/2014/main" id="{07AEBCCC-BF9C-45A3-BF1A-72F4E408D840}"/>
                </a:ext>
              </a:extLst>
            </p:cNvPr>
            <p:cNvSpPr/>
            <p:nvPr/>
          </p:nvSpPr>
          <p:spPr>
            <a:xfrm>
              <a:off x="4999433" y="5972656"/>
              <a:ext cx="608540" cy="564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i="1" dirty="0" err="1">
                <a:solidFill>
                  <a:schemeClr val="bg1"/>
                </a:solidFill>
              </a:endParaRPr>
            </a:p>
          </p:txBody>
        </p:sp>
        <p:sp>
          <p:nvSpPr>
            <p:cNvPr id="36" name="Rectangle 17">
              <a:extLst>
                <a:ext uri="{FF2B5EF4-FFF2-40B4-BE49-F238E27FC236}">
                  <a16:creationId xmlns:a16="http://schemas.microsoft.com/office/drawing/2014/main" id="{8C89583D-C127-424C-85DE-90AB22393072}"/>
                </a:ext>
              </a:extLst>
            </p:cNvPr>
            <p:cNvSpPr/>
            <p:nvPr/>
          </p:nvSpPr>
          <p:spPr>
            <a:xfrm>
              <a:off x="5669319" y="5989203"/>
              <a:ext cx="3860062" cy="521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>
                <a:spcAft>
                  <a:spcPts val="600"/>
                </a:spcAft>
              </a:pPr>
              <a:r>
                <a:rPr lang="it-IT" sz="1200" b="1" dirty="0">
                  <a:solidFill>
                    <a:prstClr val="black"/>
                  </a:solidFill>
                  <a:cs typeface="Arial" panose="020B0604020202020204" pitchFamily="34" charset="0"/>
                </a:rPr>
                <a:t>L’abilitazione</a:t>
              </a:r>
              <a:r>
                <a:rPr lang="it-IT" sz="600" b="1" dirty="0">
                  <a:solidFill>
                    <a:schemeClr val="tx2"/>
                  </a:solidFill>
                </a:rPr>
                <a:t> </a:t>
              </a:r>
              <a:r>
                <a:rPr lang="it-IT" sz="1200" b="1" dirty="0">
                  <a:solidFill>
                    <a:prstClr val="black"/>
                  </a:solidFill>
                  <a:cs typeface="Arial" panose="020B0604020202020204" pitchFamily="34" charset="0"/>
                </a:rPr>
                <a:t>può avvenire in maniera massiva </a:t>
              </a:r>
              <a:r>
                <a:rPr lang="it-IT" sz="1200" dirty="0">
                  <a:solidFill>
                    <a:prstClr val="black"/>
                  </a:solidFill>
                  <a:cs typeface="Arial" panose="020B0604020202020204" pitchFamily="34" charset="0"/>
                </a:rPr>
                <a:t>per tutta la classe o in maniera puntuale</a:t>
              </a:r>
            </a:p>
          </p:txBody>
        </p:sp>
        <p:pic>
          <p:nvPicPr>
            <p:cNvPr id="37" name="Graphic 57" descr="Magnifying glass">
              <a:extLst>
                <a:ext uri="{FF2B5EF4-FFF2-40B4-BE49-F238E27FC236}">
                  <a16:creationId xmlns:a16="http://schemas.microsoft.com/office/drawing/2014/main" id="{57C26CED-630D-4E3D-BC0F-C1007C3984B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5108168" y="5835138"/>
              <a:ext cx="567771" cy="567771"/>
            </a:xfrm>
            <a:prstGeom prst="rect">
              <a:avLst/>
            </a:prstGeom>
          </p:spPr>
        </p:pic>
      </p:grpSp>
      <p:sp>
        <p:nvSpPr>
          <p:cNvPr id="38" name="Title 8">
            <a:extLst>
              <a:ext uri="{FF2B5EF4-FFF2-40B4-BE49-F238E27FC236}">
                <a16:creationId xmlns:a16="http://schemas.microsoft.com/office/drawing/2014/main" id="{D329E37B-C93A-4982-A0CE-D48B04CBE910}"/>
              </a:ext>
            </a:extLst>
          </p:cNvPr>
          <p:cNvSpPr txBox="1">
            <a:spLocks/>
          </p:cNvSpPr>
          <p:nvPr/>
        </p:nvSpPr>
        <p:spPr>
          <a:xfrm>
            <a:off x="247521" y="29301"/>
            <a:ext cx="10254886" cy="1325563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844083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it-IT" sz="3600" dirty="0">
                <a:solidFill>
                  <a:prstClr val="black"/>
                </a:solidFill>
                <a:sym typeface="Dosis Light"/>
              </a:rPr>
              <a:t>Le funzioni a disposizione delle scuole</a:t>
            </a:r>
          </a:p>
          <a:p>
            <a:pPr>
              <a:lnSpc>
                <a:spcPct val="100000"/>
              </a:lnSpc>
            </a:pPr>
            <a:r>
              <a:rPr lang="it-IT" sz="2500" b="0" i="1" dirty="0">
                <a:solidFill>
                  <a:prstClr val="black"/>
                </a:solidFill>
                <a:sym typeface="Dosis Light"/>
              </a:rPr>
              <a:t>Abilitazione docenti/studenti</a:t>
            </a:r>
            <a:endParaRPr lang="it-IT" sz="2500" b="0" i="1" dirty="0">
              <a:sym typeface="Dosis Light"/>
            </a:endParaRPr>
          </a:p>
        </p:txBody>
      </p:sp>
    </p:spTree>
    <p:extLst>
      <p:ext uri="{BB962C8B-B14F-4D97-AF65-F5344CB8AC3E}">
        <p14:creationId xmlns:p14="http://schemas.microsoft.com/office/powerpoint/2010/main" val="36998588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000"/>
                            </p:stCondLst>
                            <p:childTnLst>
                              <p:par>
                                <p:cTn id="3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  <p:bldP spid="30" grpId="0" animBg="1"/>
      <p:bldP spid="31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6B7A3B3-3E02-43E4-8A7A-C25CE854DB51}"/>
              </a:ext>
            </a:extLst>
          </p:cNvPr>
          <p:cNvSpPr/>
          <p:nvPr/>
        </p:nvSpPr>
        <p:spPr>
          <a:xfrm>
            <a:off x="514357" y="1387441"/>
            <a:ext cx="5428070" cy="288991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olidamento </a:t>
            </a:r>
            <a:r>
              <a: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esame</a:t>
            </a: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88900" lvl="0" algn="ctr">
              <a:spcAft>
                <a:spcPts val="600"/>
              </a:spcAft>
              <a:defRPr/>
            </a:pP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ne eseguito sull’intero documento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a dello svolgimento dell’esame di Stato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per mettere il documento a disposizione delle Commissioni d’esame completo in tutte le parti compilate, compresa l’informazione relativa al credito scolastico.</a:t>
            </a:r>
          </a:p>
          <a:p>
            <a:pPr marL="88900" lvl="0" algn="ctr">
              <a:spcAft>
                <a:spcPts val="600"/>
              </a:spcAft>
              <a:defRPr/>
            </a:pP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a di consolidare il Curriculum, le scuole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ualizzano le informazioni </a:t>
            </a:r>
            <a:r>
              <a:rPr lang="it-IT" sz="160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caricate ed eventualmente le integrano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6F2F723C-9F71-4302-AE17-024193A221EF}"/>
              </a:ext>
            </a:extLst>
          </p:cNvPr>
          <p:cNvSpPr/>
          <p:nvPr/>
        </p:nvSpPr>
        <p:spPr>
          <a:xfrm>
            <a:off x="6197847" y="1393781"/>
            <a:ext cx="5106957" cy="288357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lvl="0" algn="ctr">
              <a:spcAft>
                <a:spcPts val="600"/>
              </a:spcAft>
              <a:defRPr/>
            </a:pP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olidamento post-esame</a:t>
            </a:r>
          </a:p>
          <a:p>
            <a:pPr marL="88900" lvl="0" algn="ctr">
              <a:spcAft>
                <a:spcPts val="600"/>
              </a:spcAft>
              <a:defRPr/>
            </a:pPr>
            <a:endParaRPr lang="it-IT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8900" lvl="0" algn="ctr">
              <a:spcAft>
                <a:spcPts val="600"/>
              </a:spcAft>
              <a:defRPr/>
            </a:pP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ne effettuato una volta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o l’esame di Stato: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po aver verificato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presenza dell’esito conseguito,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le scuole consolidano definitivamente il Curriculum,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egandolo in maniera univoca al diploma 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mite il riferimento al numero identificativo di quest’ultimo</a:t>
            </a: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4E486C4B-B0FF-40E7-B54D-4A5875718DA4}"/>
              </a:ext>
            </a:extLst>
          </p:cNvPr>
          <p:cNvSpPr txBox="1">
            <a:spLocks/>
          </p:cNvSpPr>
          <p:nvPr/>
        </p:nvSpPr>
        <p:spPr>
          <a:xfrm>
            <a:off x="571550" y="1237811"/>
            <a:ext cx="10988675" cy="609650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it-IT" sz="1600" b="0" dirty="0">
              <a:solidFill>
                <a:schemeClr val="tx1"/>
              </a:solidFill>
            </a:endParaRPr>
          </a:p>
        </p:txBody>
      </p:sp>
      <p:sp>
        <p:nvSpPr>
          <p:cNvPr id="3" name="Freccia in giù 2">
            <a:extLst>
              <a:ext uri="{FF2B5EF4-FFF2-40B4-BE49-F238E27FC236}">
                <a16:creationId xmlns:a16="http://schemas.microsoft.com/office/drawing/2014/main" id="{0CE57D39-5190-48F7-92E9-3E2BD9664EC7}"/>
              </a:ext>
            </a:extLst>
          </p:cNvPr>
          <p:cNvSpPr/>
          <p:nvPr/>
        </p:nvSpPr>
        <p:spPr>
          <a:xfrm>
            <a:off x="2985796" y="4433330"/>
            <a:ext cx="485192" cy="634481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3" name="Freccia in giù 12">
            <a:extLst>
              <a:ext uri="{FF2B5EF4-FFF2-40B4-BE49-F238E27FC236}">
                <a16:creationId xmlns:a16="http://schemas.microsoft.com/office/drawing/2014/main" id="{24E57C41-5127-40FC-9483-195B625D6B32}"/>
              </a:ext>
            </a:extLst>
          </p:cNvPr>
          <p:cNvSpPr/>
          <p:nvPr/>
        </p:nvSpPr>
        <p:spPr>
          <a:xfrm>
            <a:off x="8655699" y="4433330"/>
            <a:ext cx="485192" cy="634481"/>
          </a:xfrm>
          <a:prstGeom prst="downArrow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5" name="Ovale 4">
            <a:extLst>
              <a:ext uri="{FF2B5EF4-FFF2-40B4-BE49-F238E27FC236}">
                <a16:creationId xmlns:a16="http://schemas.microsoft.com/office/drawing/2014/main" id="{CA00B72E-9FB6-44CF-865E-E9970EBCB436}"/>
              </a:ext>
            </a:extLst>
          </p:cNvPr>
          <p:cNvSpPr/>
          <p:nvPr/>
        </p:nvSpPr>
        <p:spPr>
          <a:xfrm>
            <a:off x="1277435" y="5223782"/>
            <a:ext cx="3811555" cy="113252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400" b="1" dirty="0">
                <a:solidFill>
                  <a:schemeClr val="bg1"/>
                </a:solidFill>
              </a:rPr>
              <a:t>Il Curriculum è messo direttamente a disposizione delle Commissioni tramite «Commissione web»</a:t>
            </a:r>
          </a:p>
        </p:txBody>
      </p:sp>
      <p:sp>
        <p:nvSpPr>
          <p:cNvPr id="15" name="Ovale 14">
            <a:extLst>
              <a:ext uri="{FF2B5EF4-FFF2-40B4-BE49-F238E27FC236}">
                <a16:creationId xmlns:a16="http://schemas.microsoft.com/office/drawing/2014/main" id="{71080D82-99E3-4606-90EA-5A726710289A}"/>
              </a:ext>
            </a:extLst>
          </p:cNvPr>
          <p:cNvSpPr/>
          <p:nvPr/>
        </p:nvSpPr>
        <p:spPr>
          <a:xfrm>
            <a:off x="6882024" y="5223781"/>
            <a:ext cx="4032541" cy="1132524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400" b="1" dirty="0">
                <a:solidFill>
                  <a:schemeClr val="tx1"/>
                </a:solidFill>
              </a:rPr>
              <a:t>Il Curriculum è messo direttamente a disposizione dello studente in piattaforma assieme al Supplemento Europass</a:t>
            </a:r>
          </a:p>
        </p:txBody>
      </p:sp>
      <p:sp>
        <p:nvSpPr>
          <p:cNvPr id="16" name="Title 8">
            <a:extLst>
              <a:ext uri="{FF2B5EF4-FFF2-40B4-BE49-F238E27FC236}">
                <a16:creationId xmlns:a16="http://schemas.microsoft.com/office/drawing/2014/main" id="{67B0585C-0E28-4217-9C78-3C450F8566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710" y="478594"/>
            <a:ext cx="10254886" cy="864902"/>
          </a:xfrm>
        </p:spPr>
        <p:txBody>
          <a:bodyPr>
            <a:normAutofit fontScale="9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Dosis Light"/>
              </a:rPr>
              <a:t>Le funzioni a disposizione delle scuole</a:t>
            </a:r>
            <a:b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Dosis Light"/>
              </a:rPr>
            </a:br>
            <a:r>
              <a:rPr kumimoji="0" lang="it-IT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Dosis Light"/>
              </a:rPr>
              <a:t>Consolidamento Curriculum</a:t>
            </a:r>
            <a:br>
              <a:rPr kumimoji="0" lang="it-IT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Dosis Light"/>
              </a:rPr>
            </a:br>
            <a:endParaRPr lang="it-IT" dirty="0">
              <a:sym typeface="Dosis Light"/>
            </a:endParaRPr>
          </a:p>
        </p:txBody>
      </p:sp>
    </p:spTree>
    <p:extLst>
      <p:ext uri="{BB962C8B-B14F-4D97-AF65-F5344CB8AC3E}">
        <p14:creationId xmlns:p14="http://schemas.microsoft.com/office/powerpoint/2010/main" val="41716713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1" grpId="0" animBg="1"/>
      <p:bldP spid="3" grpId="0" animBg="1"/>
      <p:bldP spid="13" grpId="0" animBg="1"/>
      <p:bldP spid="5" grpId="0" animBg="1"/>
      <p:bldP spid="15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710" y="478594"/>
            <a:ext cx="10254886" cy="864902"/>
          </a:xfrm>
        </p:spPr>
        <p:txBody>
          <a:bodyPr>
            <a:normAutofit fontScale="9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Dosis Light"/>
              </a:rPr>
              <a:t>Le funzioni a disposizione delle scuole</a:t>
            </a:r>
            <a:b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Dosis Light"/>
              </a:rPr>
            </a:br>
            <a:r>
              <a:rPr kumimoji="0" lang="it-IT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Dosis Light"/>
              </a:rPr>
              <a:t>Consolidamento Curriculum</a:t>
            </a:r>
            <a:br>
              <a:rPr kumimoji="0" lang="it-IT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Dosis Light"/>
              </a:rPr>
            </a:br>
            <a:endParaRPr lang="it-IT" dirty="0">
              <a:sym typeface="Dosis Light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5632" y="5052197"/>
            <a:ext cx="1333674" cy="133367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B9F7077-930F-407C-93FC-96D76360FF79}"/>
              </a:ext>
            </a:extLst>
          </p:cNvPr>
          <p:cNvSpPr/>
          <p:nvPr/>
        </p:nvSpPr>
        <p:spPr>
          <a:xfrm>
            <a:off x="6259306" y="5417219"/>
            <a:ext cx="4722825" cy="83429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lvl="0" algn="ctr">
              <a:spcAft>
                <a:spcPts val="600"/>
              </a:spcAft>
              <a:defRPr/>
            </a:pP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e scuole possono effettuare il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nsolidamento</a:t>
            </a: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sia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ssivamente</a:t>
            </a: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per l’intera 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e sia sulle informazioni del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olo studente</a:t>
            </a: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Immagine 22" descr="Immagine che contiene tavolo&#10;&#10;Descrizione generata automaticamente">
            <a:extLst>
              <a:ext uri="{FF2B5EF4-FFF2-40B4-BE49-F238E27FC236}">
                <a16:creationId xmlns:a16="http://schemas.microsoft.com/office/drawing/2014/main" id="{6CF71E01-6302-4D24-93B0-DF0D3A05788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55" y="1801558"/>
            <a:ext cx="10400677" cy="2725148"/>
          </a:xfrm>
          <a:prstGeom prst="rect">
            <a:avLst/>
          </a:prstGeom>
        </p:spPr>
      </p:pic>
      <p:sp>
        <p:nvSpPr>
          <p:cNvPr id="22" name="Ovale 21">
            <a:extLst>
              <a:ext uri="{FF2B5EF4-FFF2-40B4-BE49-F238E27FC236}">
                <a16:creationId xmlns:a16="http://schemas.microsoft.com/office/drawing/2014/main" id="{87B59457-BA2B-44B8-8BC6-D4AC03EAF54C}"/>
              </a:ext>
            </a:extLst>
          </p:cNvPr>
          <p:cNvSpPr/>
          <p:nvPr/>
        </p:nvSpPr>
        <p:spPr>
          <a:xfrm>
            <a:off x="6343070" y="1801558"/>
            <a:ext cx="1389210" cy="45293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21" name="Ovale 20">
            <a:extLst>
              <a:ext uri="{FF2B5EF4-FFF2-40B4-BE49-F238E27FC236}">
                <a16:creationId xmlns:a16="http://schemas.microsoft.com/office/drawing/2014/main" id="{572065E2-3345-45FB-81D1-7B4FD503C6AD}"/>
              </a:ext>
            </a:extLst>
          </p:cNvPr>
          <p:cNvSpPr/>
          <p:nvPr/>
        </p:nvSpPr>
        <p:spPr>
          <a:xfrm>
            <a:off x="7798646" y="1801558"/>
            <a:ext cx="1598157" cy="45293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pic>
        <p:nvPicPr>
          <p:cNvPr id="24" name="Picture 16">
            <a:extLst>
              <a:ext uri="{FF2B5EF4-FFF2-40B4-BE49-F238E27FC236}">
                <a16:creationId xmlns:a16="http://schemas.microsoft.com/office/drawing/2014/main" id="{9AD50D4F-7E6C-4A61-BE00-9300AA8BE59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7345" y="2271244"/>
            <a:ext cx="560659" cy="560659"/>
          </a:xfrm>
          <a:prstGeom prst="rect">
            <a:avLst/>
          </a:prstGeom>
        </p:spPr>
      </p:pic>
      <p:pic>
        <p:nvPicPr>
          <p:cNvPr id="25" name="Picture 16">
            <a:extLst>
              <a:ext uri="{FF2B5EF4-FFF2-40B4-BE49-F238E27FC236}">
                <a16:creationId xmlns:a16="http://schemas.microsoft.com/office/drawing/2014/main" id="{CD6DD5E0-0D4D-4A65-B95E-F8A2398481F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7394" y="2272620"/>
            <a:ext cx="560659" cy="560659"/>
          </a:xfrm>
          <a:prstGeom prst="rect">
            <a:avLst/>
          </a:prstGeom>
        </p:spPr>
      </p:pic>
      <p:sp>
        <p:nvSpPr>
          <p:cNvPr id="26" name="Ovale 25">
            <a:extLst>
              <a:ext uri="{FF2B5EF4-FFF2-40B4-BE49-F238E27FC236}">
                <a16:creationId xmlns:a16="http://schemas.microsoft.com/office/drawing/2014/main" id="{A9C7621D-87A5-4AA1-9575-8AB39E8C88D0}"/>
              </a:ext>
            </a:extLst>
          </p:cNvPr>
          <p:cNvSpPr/>
          <p:nvPr/>
        </p:nvSpPr>
        <p:spPr>
          <a:xfrm>
            <a:off x="9499615" y="1801558"/>
            <a:ext cx="1389210" cy="45293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pic>
        <p:nvPicPr>
          <p:cNvPr id="27" name="Picture 16">
            <a:extLst>
              <a:ext uri="{FF2B5EF4-FFF2-40B4-BE49-F238E27FC236}">
                <a16:creationId xmlns:a16="http://schemas.microsoft.com/office/drawing/2014/main" id="{2910F2C3-BD6F-41EF-B390-CCB57B80B63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3890" y="2271244"/>
            <a:ext cx="560659" cy="560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6164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1" grpId="0" animBg="1"/>
      <p:bldP spid="26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074" y="180829"/>
            <a:ext cx="10254886" cy="775186"/>
          </a:xfrm>
        </p:spPr>
        <p:txBody>
          <a:bodyPr>
            <a:normAutofit/>
          </a:bodyPr>
          <a:lstStyle/>
          <a:p>
            <a:r>
              <a:rPr lang="it-IT" sz="3600" dirty="0">
                <a:sym typeface="Dosis Light"/>
              </a:rPr>
              <a:t>La Piattaforma informatica per gli studenti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8E46EB49-7AAF-42F1-90F9-3F72DCABE24F}"/>
              </a:ext>
            </a:extLst>
          </p:cNvPr>
          <p:cNvSpPr/>
          <p:nvPr/>
        </p:nvSpPr>
        <p:spPr>
          <a:xfrm>
            <a:off x="4235117" y="5992895"/>
            <a:ext cx="7454348" cy="6221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r </a:t>
            </a:r>
            <a:r>
              <a:rPr lang="it-IT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 studenti è stata predisposta </a:t>
            </a:r>
            <a:r>
              <a:rPr lang="it-IT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’apposita piattaforma «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urriculum dello studente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»</a:t>
            </a:r>
          </a:p>
        </p:txBody>
      </p:sp>
      <p:pic>
        <p:nvPicPr>
          <p:cNvPr id="6" name="Immagine 1">
            <a:extLst>
              <a:ext uri="{FF2B5EF4-FFF2-40B4-BE49-F238E27FC236}">
                <a16:creationId xmlns:a16="http://schemas.microsoft.com/office/drawing/2014/main" id="{4C29222B-FDBF-4B8D-98C6-B88DCA0D2F69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03"/>
          <a:stretch/>
        </p:blipFill>
        <p:spPr bwMode="auto">
          <a:xfrm>
            <a:off x="1665040" y="1101013"/>
            <a:ext cx="8861920" cy="480097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55373932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77929840-D590-4C5B-B1A9-AFD34250D60F}"/>
              </a:ext>
            </a:extLst>
          </p:cNvPr>
          <p:cNvGrpSpPr/>
          <p:nvPr/>
        </p:nvGrpSpPr>
        <p:grpSpPr>
          <a:xfrm>
            <a:off x="758608" y="1382054"/>
            <a:ext cx="7166025" cy="2519386"/>
            <a:chOff x="758608" y="1382054"/>
            <a:chExt cx="7166025" cy="2519386"/>
          </a:xfrm>
        </p:grpSpPr>
        <p:pic>
          <p:nvPicPr>
            <p:cNvPr id="10" name="Immagine 1">
              <a:extLst>
                <a:ext uri="{FF2B5EF4-FFF2-40B4-BE49-F238E27FC236}">
                  <a16:creationId xmlns:a16="http://schemas.microsoft.com/office/drawing/2014/main" id="{3C4F42FD-5A8F-4025-866E-7322164F5E4A}"/>
                </a:ext>
              </a:extLst>
            </p:cNvPr>
            <p:cNvPicPr/>
            <p:nvPr/>
          </p:nvPicPr>
          <p:blipFill rotWithShape="1">
            <a:blip r:embed="rId3"/>
            <a:srcRect t="10386" r="1061" b="34422"/>
            <a:stretch/>
          </p:blipFill>
          <p:spPr bwMode="auto">
            <a:xfrm>
              <a:off x="758608" y="1382054"/>
              <a:ext cx="7166025" cy="2519386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53173438-0B94-4BBA-9EA9-48C8D398C3B9}"/>
                </a:ext>
              </a:extLst>
            </p:cNvPr>
            <p:cNvSpPr/>
            <p:nvPr/>
          </p:nvSpPr>
          <p:spPr>
            <a:xfrm>
              <a:off x="1583138" y="2736850"/>
              <a:ext cx="361950" cy="1651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ym typeface="Dosis Light"/>
              </a:rPr>
              <a:t>La Piattaforma informatica per gli studenti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6B7A3B3-3E02-43E4-8A7A-C25CE854DB51}"/>
              </a:ext>
            </a:extLst>
          </p:cNvPr>
          <p:cNvSpPr/>
          <p:nvPr/>
        </p:nvSpPr>
        <p:spPr>
          <a:xfrm>
            <a:off x="8420852" y="1820475"/>
            <a:ext cx="3218865" cy="13255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li studenti possono consultare il Curriculum e inserire certificazioni e attività extrascolastiche</a:t>
            </a:r>
          </a:p>
        </p:txBody>
      </p:sp>
      <p:pic>
        <p:nvPicPr>
          <p:cNvPr id="11" name="Immagine 16">
            <a:extLst>
              <a:ext uri="{FF2B5EF4-FFF2-40B4-BE49-F238E27FC236}">
                <a16:creationId xmlns:a16="http://schemas.microsoft.com/office/drawing/2014/main" id="{76477CC8-E6F3-4BE8-A0D0-D851A1E1B11E}"/>
              </a:ext>
            </a:extLst>
          </p:cNvPr>
          <p:cNvPicPr/>
          <p:nvPr/>
        </p:nvPicPr>
        <p:blipFill rotWithShape="1">
          <a:blip r:embed="rId4"/>
          <a:srcRect t="10386" r="2064" b="35466"/>
          <a:stretch/>
        </p:blipFill>
        <p:spPr bwMode="auto">
          <a:xfrm>
            <a:off x="3850640" y="3761707"/>
            <a:ext cx="7377816" cy="262080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Freeform 19">
            <a:extLst>
              <a:ext uri="{FF2B5EF4-FFF2-40B4-BE49-F238E27FC236}">
                <a16:creationId xmlns:a16="http://schemas.microsoft.com/office/drawing/2014/main" id="{E2CC2173-4E5E-41AC-BBF3-ECD910D3E862}"/>
              </a:ext>
            </a:extLst>
          </p:cNvPr>
          <p:cNvSpPr>
            <a:spLocks noChangeAspect="1" noEditPoints="1"/>
          </p:cNvSpPr>
          <p:nvPr/>
        </p:nvSpPr>
        <p:spPr bwMode="auto">
          <a:xfrm rot="12519011" flipH="1" flipV="1">
            <a:off x="7408863" y="3322048"/>
            <a:ext cx="1365287" cy="590424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: Rounded Corners 4">
            <a:extLst>
              <a:ext uri="{FF2B5EF4-FFF2-40B4-BE49-F238E27FC236}">
                <a16:creationId xmlns:a16="http://schemas.microsoft.com/office/drawing/2014/main" id="{7B2A2777-9610-47C3-9387-F05ECD962191}"/>
              </a:ext>
            </a:extLst>
          </p:cNvPr>
          <p:cNvSpPr/>
          <p:nvPr/>
        </p:nvSpPr>
        <p:spPr>
          <a:xfrm>
            <a:off x="6419461" y="3249580"/>
            <a:ext cx="1082352" cy="209939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7546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2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ym typeface="Dosis Light"/>
              </a:rPr>
              <a:t>La Piattaforma informatica per gli studenti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80B4B95-CB8A-49D9-8CF5-7F6072529E30}"/>
              </a:ext>
            </a:extLst>
          </p:cNvPr>
          <p:cNvGrpSpPr/>
          <p:nvPr/>
        </p:nvGrpSpPr>
        <p:grpSpPr>
          <a:xfrm>
            <a:off x="487363" y="1828800"/>
            <a:ext cx="5893117" cy="2476659"/>
            <a:chOff x="635381" y="574438"/>
            <a:chExt cx="5608637" cy="2597967"/>
          </a:xfrm>
        </p:grpSpPr>
        <p:pic>
          <p:nvPicPr>
            <p:cNvPr id="12" name="Immagine 19">
              <a:extLst>
                <a:ext uri="{FF2B5EF4-FFF2-40B4-BE49-F238E27FC236}">
                  <a16:creationId xmlns:a16="http://schemas.microsoft.com/office/drawing/2014/main" id="{4C27AB36-D574-49E7-831B-3CE5A765B73A}"/>
                </a:ext>
              </a:extLst>
            </p:cNvPr>
            <p:cNvPicPr/>
            <p:nvPr/>
          </p:nvPicPr>
          <p:blipFill rotWithShape="1">
            <a:blip r:embed="rId3"/>
            <a:srcRect l="23699" t="24656" r="1456" b="23373"/>
            <a:stretch/>
          </p:blipFill>
          <p:spPr bwMode="auto">
            <a:xfrm>
              <a:off x="635381" y="574438"/>
              <a:ext cx="5608637" cy="2597967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sp>
          <p:nvSpPr>
            <p:cNvPr id="2" name="Oval 1"/>
            <p:cNvSpPr/>
            <p:nvPr/>
          </p:nvSpPr>
          <p:spPr>
            <a:xfrm>
              <a:off x="697053" y="2670133"/>
              <a:ext cx="766254" cy="274044"/>
            </a:xfrm>
            <a:prstGeom prst="ellipse">
              <a:avLst/>
            </a:prstGeom>
            <a:noFill/>
            <a:ln w="38100">
              <a:solidFill>
                <a:srgbClr val="AE2C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" name="Freeform 19">
            <a:extLst>
              <a:ext uri="{FF2B5EF4-FFF2-40B4-BE49-F238E27FC236}">
                <a16:creationId xmlns:a16="http://schemas.microsoft.com/office/drawing/2014/main" id="{E2CC2173-4E5E-41AC-BBF3-ECD910D3E862}"/>
              </a:ext>
            </a:extLst>
          </p:cNvPr>
          <p:cNvSpPr>
            <a:spLocks noChangeAspect="1" noEditPoints="1"/>
          </p:cNvSpPr>
          <p:nvPr/>
        </p:nvSpPr>
        <p:spPr bwMode="auto">
          <a:xfrm rot="1640109" flipV="1">
            <a:off x="5029659" y="4220711"/>
            <a:ext cx="1365287" cy="590424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3" name="Immagine 19">
            <a:extLst>
              <a:ext uri="{FF2B5EF4-FFF2-40B4-BE49-F238E27FC236}">
                <a16:creationId xmlns:a16="http://schemas.microsoft.com/office/drawing/2014/main" id="{18303716-6D73-4C03-9DFB-253CF9FFA0CA}"/>
              </a:ext>
            </a:extLst>
          </p:cNvPr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33" r="1648" b="-1083"/>
          <a:stretch/>
        </p:blipFill>
        <p:spPr bwMode="auto">
          <a:xfrm>
            <a:off x="6479697" y="2551507"/>
            <a:ext cx="5224940" cy="355605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C931A33-0596-4C23-B431-F95C84E2E6A7}"/>
              </a:ext>
            </a:extLst>
          </p:cNvPr>
          <p:cNvSpPr/>
          <p:nvPr/>
        </p:nvSpPr>
        <p:spPr>
          <a:xfrm>
            <a:off x="487363" y="4720805"/>
            <a:ext cx="5224940" cy="11514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li studenti inseriscono le informazioni nelle sezioni di interesse.</a:t>
            </a:r>
          </a:p>
          <a:p>
            <a:pPr marL="889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it-IT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o le sezioni valorizzate saranno presenti nel documento finale.</a:t>
            </a:r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875627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magine 1">
            <a:extLst>
              <a:ext uri="{FF2B5EF4-FFF2-40B4-BE49-F238E27FC236}">
                <a16:creationId xmlns:a16="http://schemas.microsoft.com/office/drawing/2014/main" id="{C23206C6-A844-42CE-B900-21BAD0044A09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03"/>
          <a:stretch/>
        </p:blipFill>
        <p:spPr bwMode="auto">
          <a:xfrm>
            <a:off x="631775" y="1735291"/>
            <a:ext cx="6750735" cy="398284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ym typeface="Dosis Light"/>
              </a:rPr>
              <a:t>La Piattaforma informatica per gli studenti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931A33-0596-4C23-B431-F95C84E2E6A7}"/>
              </a:ext>
            </a:extLst>
          </p:cNvPr>
          <p:cNvSpPr/>
          <p:nvPr/>
        </p:nvSpPr>
        <p:spPr>
          <a:xfrm>
            <a:off x="7859330" y="2740916"/>
            <a:ext cx="3616702" cy="23832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lvl="0" algn="ctr">
              <a:spcAft>
                <a:spcPts val="600"/>
              </a:spcAft>
              <a:defRPr/>
            </a:pPr>
            <a:r>
              <a:rPr lang="it-IT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po lo svolgimento dell’esame, quando è stato definitivamente consolidato, </a:t>
            </a:r>
            <a:r>
              <a:rPr lang="it-IT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Curriculum viene messo a disposizione degli studenti all’interno della piattaforma</a:t>
            </a:r>
            <a:r>
              <a:rPr lang="it-IT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ssieme al Supplemento Europass al Certificato.</a:t>
            </a:r>
            <a:endParaRPr kumimoji="0" lang="it-IT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9339475-02DC-40CC-B3CB-67A2B7B03387}"/>
              </a:ext>
            </a:extLst>
          </p:cNvPr>
          <p:cNvSpPr/>
          <p:nvPr/>
        </p:nvSpPr>
        <p:spPr>
          <a:xfrm>
            <a:off x="5632480" y="3736871"/>
            <a:ext cx="1689070" cy="391319"/>
          </a:xfrm>
          <a:prstGeom prst="ellipse">
            <a:avLst/>
          </a:prstGeom>
          <a:noFill/>
          <a:ln w="38100">
            <a:solidFill>
              <a:srgbClr val="AE2C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9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reeform 19">
            <a:extLst>
              <a:ext uri="{FF2B5EF4-FFF2-40B4-BE49-F238E27FC236}">
                <a16:creationId xmlns:a16="http://schemas.microsoft.com/office/drawing/2014/main" id="{E4DD7F9A-87E9-4430-9A5E-1CBE9A7E087E}"/>
              </a:ext>
            </a:extLst>
          </p:cNvPr>
          <p:cNvSpPr>
            <a:spLocks noChangeAspect="1" noEditPoints="1"/>
          </p:cNvSpPr>
          <p:nvPr/>
        </p:nvSpPr>
        <p:spPr bwMode="auto">
          <a:xfrm rot="9341667" flipV="1">
            <a:off x="6699867" y="2875086"/>
            <a:ext cx="1365287" cy="590424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860178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6581825" cy="1325563"/>
          </a:xfrm>
        </p:spPr>
        <p:txBody>
          <a:bodyPr/>
          <a:lstStyle/>
          <a:p>
            <a:r>
              <a:rPr lang="it-IT" dirty="0">
                <a:sym typeface="Dosis Light"/>
              </a:rPr>
              <a:t>Sito web </a:t>
            </a:r>
            <a:r>
              <a:rPr lang="it-IT" i="1" dirty="0">
                <a:sym typeface="Dosis Light"/>
              </a:rPr>
              <a:t>Curriculum dello student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6B7A3B3-3E02-43E4-8A7A-C25CE854DB51}"/>
              </a:ext>
            </a:extLst>
          </p:cNvPr>
          <p:cNvSpPr/>
          <p:nvPr/>
        </p:nvSpPr>
        <p:spPr>
          <a:xfrm>
            <a:off x="750823" y="2534852"/>
            <a:ext cx="5660137" cy="24537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l </a:t>
            </a: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to web </a:t>
            </a:r>
            <a:r>
              <a:rPr kumimoji="0" lang="it-IT" sz="2000" b="1" i="1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urriculum dello studente 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senta </a:t>
            </a: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tenuti di carattere informativo sul Curriculum.</a:t>
            </a:r>
          </a:p>
          <a:p>
            <a:pPr marL="88900" lvl="0">
              <a:spcAft>
                <a:spcPts val="600"/>
              </a:spcAft>
              <a:defRPr/>
            </a:pPr>
            <a:r>
              <a:rPr lang="it-IT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resenta il </a:t>
            </a: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nto di accesso alle informazioni, ai materiali utili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 </a:t>
            </a:r>
            <a:r>
              <a:rPr lang="it-IT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e funzioni  </a:t>
            </a:r>
            <a:r>
              <a:rPr lang="it-IT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la predisposizione e la consultazione de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 Curriculum per le scuole e gli studenti.</a:t>
            </a: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B17EE76D-10E3-4CCF-9628-6064ED2D41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1749" y="0"/>
            <a:ext cx="3767474" cy="68580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965194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37597E-228D-4789-A62F-80F07E1E04FA}"/>
              </a:ext>
            </a:extLst>
          </p:cNvPr>
          <p:cNvSpPr/>
          <p:nvPr/>
        </p:nvSpPr>
        <p:spPr>
          <a:xfrm>
            <a:off x="0" y="0"/>
            <a:ext cx="6095998" cy="6895021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F35BB9-EF1C-40A4-B712-C382C3941380}"/>
              </a:ext>
            </a:extLst>
          </p:cNvPr>
          <p:cNvSpPr/>
          <p:nvPr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9A6D697-F3B8-46B4-BB1D-DD080399DF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550858" y="2530461"/>
            <a:ext cx="6895020" cy="1804737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A8CCE68-CEB1-4DBD-B64A-05F58866373D}"/>
              </a:ext>
            </a:extLst>
          </p:cNvPr>
          <p:cNvSpPr/>
          <p:nvPr/>
        </p:nvSpPr>
        <p:spPr>
          <a:xfrm flipH="1">
            <a:off x="6318982" y="-35749"/>
            <a:ext cx="1565945" cy="6966518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9B8B768F-4202-4EBB-9ADC-D437EEF481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33071" y="934915"/>
            <a:ext cx="2453489" cy="89307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AB629E7-3D90-4130-BB5D-916C74E26078}"/>
              </a:ext>
            </a:extLst>
          </p:cNvPr>
          <p:cNvSpPr txBox="1"/>
          <p:nvPr/>
        </p:nvSpPr>
        <p:spPr>
          <a:xfrm>
            <a:off x="8048380" y="2079376"/>
            <a:ext cx="38197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3600" b="1" dirty="0">
                <a:solidFill>
                  <a:srgbClr val="179DC2"/>
                </a:solidFill>
                <a:latin typeface="Comfortaa" pitchFamily="2" charset="0"/>
                <a:sym typeface="Dosis Light"/>
              </a:rPr>
              <a:t>Agenda</a:t>
            </a:r>
          </a:p>
          <a:p>
            <a:pPr algn="r"/>
            <a:endParaRPr lang="en-US" sz="3600" b="1" dirty="0">
              <a:solidFill>
                <a:srgbClr val="179DC2"/>
              </a:solidFill>
              <a:latin typeface="Comfortaa" pitchFamily="2" charset="0"/>
              <a:sym typeface="Dosis Light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649EB0D-30E0-4254-92D5-CA0391CD20A3}"/>
              </a:ext>
            </a:extLst>
          </p:cNvPr>
          <p:cNvCxnSpPr>
            <a:cxnSpLocks/>
          </p:cNvCxnSpPr>
          <p:nvPr/>
        </p:nvCxnSpPr>
        <p:spPr>
          <a:xfrm>
            <a:off x="8237989" y="1943501"/>
            <a:ext cx="3548571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D253483-0DD0-4C97-A1F3-1A53DBDDB47A}"/>
              </a:ext>
            </a:extLst>
          </p:cNvPr>
          <p:cNvCxnSpPr/>
          <p:nvPr/>
        </p:nvCxnSpPr>
        <p:spPr>
          <a:xfrm>
            <a:off x="1115630" y="0"/>
            <a:ext cx="0" cy="684000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6FDB52C2-7E92-42C3-8F28-6AB3B6D9A565}"/>
              </a:ext>
            </a:extLst>
          </p:cNvPr>
          <p:cNvSpPr/>
          <p:nvPr/>
        </p:nvSpPr>
        <p:spPr>
          <a:xfrm>
            <a:off x="767726" y="1031171"/>
            <a:ext cx="684000" cy="684000"/>
          </a:xfrm>
          <a:prstGeom prst="ellipse">
            <a:avLst/>
          </a:prstGeom>
          <a:solidFill>
            <a:srgbClr val="AB244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0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C0F13CB-0E49-4DDD-B2B1-52E48A435425}"/>
              </a:ext>
            </a:extLst>
          </p:cNvPr>
          <p:cNvSpPr/>
          <p:nvPr/>
        </p:nvSpPr>
        <p:spPr>
          <a:xfrm>
            <a:off x="767726" y="2750088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DC658E9-C935-45D4-9FA4-5F4F47F66463}"/>
              </a:ext>
            </a:extLst>
          </p:cNvPr>
          <p:cNvSpPr/>
          <p:nvPr/>
        </p:nvSpPr>
        <p:spPr>
          <a:xfrm>
            <a:off x="767726" y="4469004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84E30F9-4F92-4B34-8893-462FF23256A8}"/>
              </a:ext>
            </a:extLst>
          </p:cNvPr>
          <p:cNvSpPr txBox="1"/>
          <p:nvPr/>
        </p:nvSpPr>
        <p:spPr>
          <a:xfrm>
            <a:off x="1592061" y="1096172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Il Curriculum dello studente</a:t>
            </a:r>
          </a:p>
          <a:p>
            <a:r>
              <a:rPr lang="it-IT" sz="1200" dirty="0">
                <a:solidFill>
                  <a:schemeClr val="bg1"/>
                </a:solidFill>
              </a:rPr>
              <a:t>Valore, struttura e riferimenti normativi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1F6BAE7-68BB-4399-BA0B-B1A35B6735D3}"/>
              </a:ext>
            </a:extLst>
          </p:cNvPr>
          <p:cNvSpPr txBox="1"/>
          <p:nvPr/>
        </p:nvSpPr>
        <p:spPr>
          <a:xfrm>
            <a:off x="1592061" y="2815089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Il processo di realizzazione</a:t>
            </a:r>
          </a:p>
          <a:p>
            <a:r>
              <a:rPr lang="it-IT" sz="1200" dirty="0">
                <a:solidFill>
                  <a:schemeClr val="tx2"/>
                </a:solidFill>
              </a:rPr>
              <a:t>Le attività previs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98FBB9B-1226-4C09-9AFC-ED406DFADFEB}"/>
              </a:ext>
            </a:extLst>
          </p:cNvPr>
          <p:cNvSpPr txBox="1"/>
          <p:nvPr/>
        </p:nvSpPr>
        <p:spPr>
          <a:xfrm>
            <a:off x="1592060" y="4307465"/>
            <a:ext cx="45039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L’introduzione del Curriculum nell’anno scolastico 2020/21</a:t>
            </a:r>
          </a:p>
          <a:p>
            <a:r>
              <a:rPr lang="it-IT" sz="1200" dirty="0">
                <a:solidFill>
                  <a:schemeClr val="tx2"/>
                </a:solidFill>
              </a:rPr>
              <a:t>Le operazioni da svolgere e gli strumenti di accompagnamento </a:t>
            </a:r>
          </a:p>
        </p:txBody>
      </p:sp>
    </p:spTree>
    <p:extLst>
      <p:ext uri="{BB962C8B-B14F-4D97-AF65-F5344CB8AC3E}">
        <p14:creationId xmlns:p14="http://schemas.microsoft.com/office/powerpoint/2010/main" val="13637586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E2477092-CA38-4A55-BB1C-996DC24CB3C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1721" y="1568193"/>
            <a:ext cx="8597162" cy="415537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5" name="Picture 9">
            <a:extLst>
              <a:ext uri="{FF2B5EF4-FFF2-40B4-BE49-F238E27FC236}">
                <a16:creationId xmlns:a16="http://schemas.microsoft.com/office/drawing/2014/main" id="{B1872D29-C4C9-4807-B130-C7144AA71DE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4364" y="2020216"/>
            <a:ext cx="560659" cy="560659"/>
          </a:xfrm>
          <a:prstGeom prst="rect">
            <a:avLst/>
          </a:prstGeom>
        </p:spPr>
      </p:pic>
      <p:grpSp>
        <p:nvGrpSpPr>
          <p:cNvPr id="6" name="Group 2">
            <a:extLst>
              <a:ext uri="{FF2B5EF4-FFF2-40B4-BE49-F238E27FC236}">
                <a16:creationId xmlns:a16="http://schemas.microsoft.com/office/drawing/2014/main" id="{E09718EB-3552-4902-BF61-42C4BDBE7913}"/>
              </a:ext>
            </a:extLst>
          </p:cNvPr>
          <p:cNvGrpSpPr/>
          <p:nvPr/>
        </p:nvGrpSpPr>
        <p:grpSpPr>
          <a:xfrm>
            <a:off x="8723488" y="3039081"/>
            <a:ext cx="3220027" cy="1848202"/>
            <a:chOff x="6467881" y="4281875"/>
            <a:chExt cx="3220027" cy="1848202"/>
          </a:xfrm>
        </p:grpSpPr>
        <p:sp>
          <p:nvSpPr>
            <p:cNvPr id="7" name="Rectangle 15">
              <a:extLst>
                <a:ext uri="{FF2B5EF4-FFF2-40B4-BE49-F238E27FC236}">
                  <a16:creationId xmlns:a16="http://schemas.microsoft.com/office/drawing/2014/main" id="{78F4F84A-0B93-4079-8262-5ED5006D0BCF}"/>
                </a:ext>
              </a:extLst>
            </p:cNvPr>
            <p:cNvSpPr/>
            <p:nvPr/>
          </p:nvSpPr>
          <p:spPr>
            <a:xfrm>
              <a:off x="6467881" y="4281875"/>
              <a:ext cx="3220027" cy="184820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8" name="Picture 16">
              <a:extLst>
                <a:ext uri="{FF2B5EF4-FFF2-40B4-BE49-F238E27FC236}">
                  <a16:creationId xmlns:a16="http://schemas.microsoft.com/office/drawing/2014/main" id="{7C7546BB-3A0B-4867-B61B-5DAD89FB6CE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535911" y="4492479"/>
              <a:ext cx="3079727" cy="136263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9" name="Rectangle 17">
            <a:extLst>
              <a:ext uri="{FF2B5EF4-FFF2-40B4-BE49-F238E27FC236}">
                <a16:creationId xmlns:a16="http://schemas.microsoft.com/office/drawing/2014/main" id="{A5F881E9-1A9A-4B5D-8EC6-D2DB28F8BB91}"/>
              </a:ext>
            </a:extLst>
          </p:cNvPr>
          <p:cNvSpPr/>
          <p:nvPr/>
        </p:nvSpPr>
        <p:spPr>
          <a:xfrm>
            <a:off x="9537346" y="2623249"/>
            <a:ext cx="1827361" cy="4338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Selezione del profilo</a:t>
            </a:r>
          </a:p>
        </p:txBody>
      </p:sp>
      <p:sp>
        <p:nvSpPr>
          <p:cNvPr id="11" name="Rectangle: Rounded Corners 19">
            <a:extLst>
              <a:ext uri="{FF2B5EF4-FFF2-40B4-BE49-F238E27FC236}">
                <a16:creationId xmlns:a16="http://schemas.microsoft.com/office/drawing/2014/main" id="{5AC805DF-AA33-4023-A8F7-A80D1A6C04FE}"/>
              </a:ext>
            </a:extLst>
          </p:cNvPr>
          <p:cNvSpPr/>
          <p:nvPr/>
        </p:nvSpPr>
        <p:spPr>
          <a:xfrm>
            <a:off x="10927829" y="3787361"/>
            <a:ext cx="784899" cy="757196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3" name="Rectangle: Rounded Corners 19">
            <a:extLst>
              <a:ext uri="{FF2B5EF4-FFF2-40B4-BE49-F238E27FC236}">
                <a16:creationId xmlns:a16="http://schemas.microsoft.com/office/drawing/2014/main" id="{68B86005-0FFE-442E-B8A9-5DD6E7FCC4FC}"/>
              </a:ext>
            </a:extLst>
          </p:cNvPr>
          <p:cNvSpPr/>
          <p:nvPr/>
        </p:nvSpPr>
        <p:spPr>
          <a:xfrm>
            <a:off x="9879730" y="3787361"/>
            <a:ext cx="811756" cy="757196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4" name="Rectangle: Rounded Corners 19">
            <a:extLst>
              <a:ext uri="{FF2B5EF4-FFF2-40B4-BE49-F238E27FC236}">
                <a16:creationId xmlns:a16="http://schemas.microsoft.com/office/drawing/2014/main" id="{95ADBA08-E88F-4495-B68A-179B83260CA4}"/>
              </a:ext>
            </a:extLst>
          </p:cNvPr>
          <p:cNvSpPr/>
          <p:nvPr/>
        </p:nvSpPr>
        <p:spPr>
          <a:xfrm>
            <a:off x="8799406" y="3786909"/>
            <a:ext cx="811756" cy="757648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5" name="Title 8">
            <a:extLst>
              <a:ext uri="{FF2B5EF4-FFF2-40B4-BE49-F238E27FC236}">
                <a16:creationId xmlns:a16="http://schemas.microsoft.com/office/drawing/2014/main" id="{7CB4F456-E7A3-4999-BF60-747813FC0E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937" y="71606"/>
            <a:ext cx="8837108" cy="132556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it-IT" dirty="0">
                <a:sym typeface="Dosis Light"/>
              </a:rPr>
              <a:t>Sito web </a:t>
            </a:r>
            <a:r>
              <a:rPr lang="it-IT" i="1" dirty="0">
                <a:sym typeface="Dosis Light"/>
              </a:rPr>
              <a:t>Curriculum dello studente</a:t>
            </a:r>
            <a:br>
              <a:rPr lang="it-IT" i="1" dirty="0">
                <a:sym typeface="Dosis Light"/>
              </a:rPr>
            </a:br>
            <a:r>
              <a:rPr lang="it-IT" sz="2500" b="0" i="1" dirty="0">
                <a:sym typeface="Dosis Light"/>
              </a:rPr>
              <a:t>Accesso alle funzioni</a:t>
            </a:r>
            <a:endParaRPr lang="it-IT" i="1" dirty="0">
              <a:sym typeface="Dosis Light"/>
            </a:endParaRPr>
          </a:p>
        </p:txBody>
      </p:sp>
      <p:sp>
        <p:nvSpPr>
          <p:cNvPr id="16" name="Oval 10">
            <a:extLst>
              <a:ext uri="{FF2B5EF4-FFF2-40B4-BE49-F238E27FC236}">
                <a16:creationId xmlns:a16="http://schemas.microsoft.com/office/drawing/2014/main" id="{AB7EE115-E6C8-483B-919B-EB6F758F01B7}"/>
              </a:ext>
            </a:extLst>
          </p:cNvPr>
          <p:cNvSpPr/>
          <p:nvPr/>
        </p:nvSpPr>
        <p:spPr>
          <a:xfrm>
            <a:off x="8561738" y="1793872"/>
            <a:ext cx="975608" cy="243225"/>
          </a:xfrm>
          <a:prstGeom prst="ellipse">
            <a:avLst/>
          </a:prstGeom>
          <a:noFill/>
          <a:ln w="38100">
            <a:solidFill>
              <a:srgbClr val="AE2C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9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Freeform 19">
            <a:extLst>
              <a:ext uri="{FF2B5EF4-FFF2-40B4-BE49-F238E27FC236}">
                <a16:creationId xmlns:a16="http://schemas.microsoft.com/office/drawing/2014/main" id="{3D48F750-D154-49CF-8B56-D08A5B8ACFA6}"/>
              </a:ext>
            </a:extLst>
          </p:cNvPr>
          <p:cNvSpPr>
            <a:spLocks noChangeAspect="1" noEditPoints="1"/>
          </p:cNvSpPr>
          <p:nvPr/>
        </p:nvSpPr>
        <p:spPr bwMode="auto">
          <a:xfrm rot="12519011" flipH="1" flipV="1">
            <a:off x="9587097" y="1792450"/>
            <a:ext cx="1123564" cy="485889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1055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3" grpId="0" animBg="1"/>
      <p:bldP spid="14" grpId="0" animBg="1"/>
      <p:bldP spid="16" grpId="0" animBg="1"/>
      <p:bldP spid="17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461" y="62168"/>
            <a:ext cx="10254886" cy="1325563"/>
          </a:xfrm>
        </p:spPr>
        <p:txBody>
          <a:bodyPr/>
          <a:lstStyle/>
          <a:p>
            <a:r>
              <a:rPr lang="it-IT" dirty="0"/>
              <a:t>Materiale di accompagnamento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52B98DE7-E852-4991-871B-21CF43B46840}"/>
              </a:ext>
            </a:extLst>
          </p:cNvPr>
          <p:cNvSpPr txBox="1">
            <a:spLocks/>
          </p:cNvSpPr>
          <p:nvPr/>
        </p:nvSpPr>
        <p:spPr>
          <a:xfrm>
            <a:off x="405720" y="1085170"/>
            <a:ext cx="10988675" cy="959677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sz="1600" b="0" dirty="0">
                <a:solidFill>
                  <a:schemeClr val="tx1"/>
                </a:solidFill>
              </a:rPr>
              <a:t>Per ogni passaggio operativo relativo al Curriculum dello studente è stato realizzato del </a:t>
            </a:r>
            <a:r>
              <a:rPr lang="it-IT" sz="1600" dirty="0">
                <a:solidFill>
                  <a:schemeClr val="tx1"/>
                </a:solidFill>
              </a:rPr>
              <a:t>materiale di informazione e supporto personalizzato</a:t>
            </a:r>
            <a:r>
              <a:rPr lang="it-IT" sz="1600" b="0" dirty="0">
                <a:solidFill>
                  <a:schemeClr val="tx1"/>
                </a:solidFill>
              </a:rPr>
              <a:t> per le </a:t>
            </a:r>
            <a:r>
              <a:rPr lang="it-IT" sz="1600" dirty="0">
                <a:solidFill>
                  <a:schemeClr val="tx1"/>
                </a:solidFill>
              </a:rPr>
              <a:t>attività di competenza delle scuole e degli studenti.</a:t>
            </a:r>
          </a:p>
          <a:p>
            <a:pPr algn="just"/>
            <a:r>
              <a:rPr lang="it-IT" sz="1600" b="0" dirty="0">
                <a:solidFill>
                  <a:schemeClr val="tx1"/>
                </a:solidFill>
              </a:rPr>
              <a:t>Il materiale è rinvenibile sul sito </a:t>
            </a:r>
            <a:r>
              <a:rPr lang="it-IT" sz="1600" dirty="0">
                <a:solidFill>
                  <a:schemeClr val="tx1"/>
                </a:solidFill>
              </a:rPr>
              <a:t>curriculumstudente.istruzione.it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4852134" y="3949999"/>
            <a:ext cx="2725395" cy="2612568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1968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 rapide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modello del Curriculum studente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e abilitare docenti e studenti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e effettuare il consolidamento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sistemi che alimentano il Curriculum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gestione dei candidati esterni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ltazione del Curriculum da parte dei docenti</a:t>
            </a:r>
          </a:p>
        </p:txBody>
      </p:sp>
      <p:sp>
        <p:nvSpPr>
          <p:cNvPr id="86" name="Rounded Rectangle 19">
            <a:extLst>
              <a:ext uri="{FF2B5EF4-FFF2-40B4-BE49-F238E27FC236}">
                <a16:creationId xmlns:a16="http://schemas.microsoft.com/office/drawing/2014/main" id="{D5703467-199F-4B16-A4FE-009320B26D5F}"/>
              </a:ext>
            </a:extLst>
          </p:cNvPr>
          <p:cNvSpPr/>
          <p:nvPr/>
        </p:nvSpPr>
        <p:spPr>
          <a:xfrm>
            <a:off x="4623205" y="2281081"/>
            <a:ext cx="3024000" cy="451811"/>
          </a:xfrm>
          <a:prstGeom prst="round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it-IT" sz="1400" b="1" dirty="0">
                <a:solidFill>
                  <a:schemeClr val="tx1"/>
                </a:solidFill>
              </a:rPr>
              <a:t>SCUOLE</a:t>
            </a: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C938F024-9485-4037-8281-4A372E2E1C06}"/>
              </a:ext>
            </a:extLst>
          </p:cNvPr>
          <p:cNvSpPr/>
          <p:nvPr/>
        </p:nvSpPr>
        <p:spPr>
          <a:xfrm>
            <a:off x="4228545" y="2177468"/>
            <a:ext cx="707178" cy="659036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4852134" y="2952109"/>
            <a:ext cx="2725395" cy="432000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1968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deo Tutorial operativi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4852134" y="3425013"/>
            <a:ext cx="2725395" cy="432000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1968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ande frequenti</a:t>
            </a:r>
          </a:p>
        </p:txBody>
      </p:sp>
      <p:pic>
        <p:nvPicPr>
          <p:cNvPr id="132" name="Graphic 49">
            <a:extLst>
              <a:ext uri="{FF2B5EF4-FFF2-40B4-BE49-F238E27FC236}">
                <a16:creationId xmlns:a16="http://schemas.microsoft.com/office/drawing/2014/main" id="{5E2FB052-D3D0-48B5-931D-0C25FFB90240}"/>
              </a:ext>
            </a:extLst>
          </p:cNvPr>
          <p:cNvPicPr preferRelativeResize="0"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49095" y="3897917"/>
            <a:ext cx="432000" cy="432000"/>
          </a:xfrm>
          <a:prstGeom prst="rect">
            <a:avLst/>
          </a:prstGeom>
        </p:spPr>
      </p:pic>
      <p:pic>
        <p:nvPicPr>
          <p:cNvPr id="133" name="Graphic 49">
            <a:extLst>
              <a:ext uri="{FF2B5EF4-FFF2-40B4-BE49-F238E27FC236}">
                <a16:creationId xmlns:a16="http://schemas.microsoft.com/office/drawing/2014/main" id="{537AF4C7-4243-4CFD-BC45-6E8E3A7657AC}"/>
              </a:ext>
            </a:extLst>
          </p:cNvPr>
          <p:cNvPicPr preferRelativeResize="0"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314458" y="3425013"/>
            <a:ext cx="432000" cy="432000"/>
          </a:xfrm>
          <a:prstGeom prst="rect">
            <a:avLst/>
          </a:prstGeom>
        </p:spPr>
      </p:pic>
      <p:pic>
        <p:nvPicPr>
          <p:cNvPr id="136" name="Graphic 49">
            <a:extLst>
              <a:ext uri="{FF2B5EF4-FFF2-40B4-BE49-F238E27FC236}">
                <a16:creationId xmlns:a16="http://schemas.microsoft.com/office/drawing/2014/main" id="{537AF4C7-4243-4CFD-BC45-6E8E3A7657AC}"/>
              </a:ext>
            </a:extLst>
          </p:cNvPr>
          <p:cNvPicPr preferRelativeResize="0"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314458" y="2952109"/>
            <a:ext cx="432000" cy="432000"/>
          </a:xfrm>
          <a:prstGeom prst="rect">
            <a:avLst/>
          </a:prstGeom>
        </p:spPr>
      </p:pic>
      <p:pic>
        <p:nvPicPr>
          <p:cNvPr id="152" name="Picture 151" descr="A clock on a yellow building&#10;&#10;Description automatically generated">
            <a:extLst>
              <a:ext uri="{FF2B5EF4-FFF2-40B4-BE49-F238E27FC236}">
                <a16:creationId xmlns:a16="http://schemas.microsoft.com/office/drawing/2014/main" id="{F396E207-65D4-488F-AAB6-6FF2148FCBE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2134" y="2242812"/>
            <a:ext cx="540000" cy="528348"/>
          </a:xfrm>
          <a:prstGeom prst="rect">
            <a:avLst/>
          </a:prstGeom>
        </p:spPr>
      </p:pic>
      <p:grpSp>
        <p:nvGrpSpPr>
          <p:cNvPr id="20" name="Group 19"/>
          <p:cNvGrpSpPr/>
          <p:nvPr/>
        </p:nvGrpSpPr>
        <p:grpSpPr>
          <a:xfrm>
            <a:off x="7975735" y="2177468"/>
            <a:ext cx="3418660" cy="4385098"/>
            <a:chOff x="7439856" y="1986064"/>
            <a:chExt cx="3418660" cy="4385098"/>
          </a:xfrm>
        </p:grpSpPr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29681345-91FC-4212-8223-D6D84EDB9170}"/>
                </a:ext>
              </a:extLst>
            </p:cNvPr>
            <p:cNvSpPr/>
            <p:nvPr/>
          </p:nvSpPr>
          <p:spPr>
            <a:xfrm>
              <a:off x="8050516" y="3758595"/>
              <a:ext cx="2725395" cy="2612567"/>
            </a:xfrm>
            <a:prstGeom prst="rect">
              <a:avLst/>
            </a:prstGeom>
            <a:solidFill>
              <a:srgbClr val="D3E5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1968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uide rapide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it-IT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 modello del Curriculum studente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it-IT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e registrarsi e accedere alla piattaforma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it-IT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ulta e compila il tuo Curriculum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it-IT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ulta e compila il tuo Curriculum – candidati esterni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endPara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Rounded Rectangle 19">
              <a:extLst>
                <a:ext uri="{FF2B5EF4-FFF2-40B4-BE49-F238E27FC236}">
                  <a16:creationId xmlns:a16="http://schemas.microsoft.com/office/drawing/2014/main" id="{D5703467-199F-4B16-A4FE-009320B26D5F}"/>
                </a:ext>
              </a:extLst>
            </p:cNvPr>
            <p:cNvSpPr/>
            <p:nvPr/>
          </p:nvSpPr>
          <p:spPr>
            <a:xfrm>
              <a:off x="7834516" y="2089677"/>
              <a:ext cx="3024000" cy="451811"/>
            </a:xfrm>
            <a:prstGeom prst="roundRect">
              <a:avLst/>
            </a:prstGeom>
            <a:solidFill>
              <a:srgbClr val="D3E5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lvl="0" algn="ctr">
                <a:defRPr/>
              </a:pPr>
              <a:r>
                <a:rPr lang="it-IT" sz="1400" b="1" dirty="0">
                  <a:solidFill>
                    <a:schemeClr val="tx1"/>
                  </a:solidFill>
                </a:rPr>
                <a:t>STUDENTI</a:t>
              </a:r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C938F024-9485-4037-8281-4A372E2E1C06}"/>
                </a:ext>
              </a:extLst>
            </p:cNvPr>
            <p:cNvSpPr/>
            <p:nvPr/>
          </p:nvSpPr>
          <p:spPr>
            <a:xfrm>
              <a:off x="7439856" y="1986064"/>
              <a:ext cx="707178" cy="659036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dirty="0" err="1">
                <a:solidFill>
                  <a:schemeClr val="bg1"/>
                </a:solidFill>
              </a:endParaRP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29681345-91FC-4212-8223-D6D84EDB9170}"/>
                </a:ext>
              </a:extLst>
            </p:cNvPr>
            <p:cNvSpPr/>
            <p:nvPr/>
          </p:nvSpPr>
          <p:spPr>
            <a:xfrm>
              <a:off x="8050516" y="2760705"/>
              <a:ext cx="2725395" cy="432000"/>
            </a:xfrm>
            <a:prstGeom prst="rect">
              <a:avLst/>
            </a:prstGeom>
            <a:solidFill>
              <a:srgbClr val="D3E5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1968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ideo Tutorial operativi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29681345-91FC-4212-8223-D6D84EDB9170}"/>
                </a:ext>
              </a:extLst>
            </p:cNvPr>
            <p:cNvSpPr/>
            <p:nvPr/>
          </p:nvSpPr>
          <p:spPr>
            <a:xfrm>
              <a:off x="8050516" y="3233609"/>
              <a:ext cx="2725395" cy="432000"/>
            </a:xfrm>
            <a:prstGeom prst="rect">
              <a:avLst/>
            </a:prstGeom>
            <a:solidFill>
              <a:srgbClr val="D3E5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1968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mande frequenti</a:t>
              </a:r>
            </a:p>
          </p:txBody>
        </p:sp>
        <p:grpSp>
          <p:nvGrpSpPr>
            <p:cNvPr id="162" name="Group 161"/>
            <p:cNvGrpSpPr/>
            <p:nvPr/>
          </p:nvGrpSpPr>
          <p:grpSpPr>
            <a:xfrm>
              <a:off x="7642972" y="2094113"/>
              <a:ext cx="300947" cy="442939"/>
              <a:chOff x="4148419" y="1868128"/>
              <a:chExt cx="358806" cy="539744"/>
            </a:xfrm>
          </p:grpSpPr>
          <p:pic>
            <p:nvPicPr>
              <p:cNvPr id="163" name="Picture 162">
                <a:extLst>
                  <a:ext uri="{FF2B5EF4-FFF2-40B4-BE49-F238E27FC236}">
                    <a16:creationId xmlns:a16="http://schemas.microsoft.com/office/drawing/2014/main" id="{4C97E2FA-C513-4E4E-AA6F-8506483B7E7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l="21406" t="58006" r="16225"/>
              <a:stretch/>
            </p:blipFill>
            <p:spPr>
              <a:xfrm>
                <a:off x="4148419" y="2166374"/>
                <a:ext cx="358669" cy="241498"/>
              </a:xfrm>
              <a:prstGeom prst="rect">
                <a:avLst/>
              </a:prstGeom>
            </p:spPr>
          </p:pic>
          <p:pic>
            <p:nvPicPr>
              <p:cNvPr id="164" name="Picture 163">
                <a:extLst>
                  <a:ext uri="{FF2B5EF4-FFF2-40B4-BE49-F238E27FC236}">
                    <a16:creationId xmlns:a16="http://schemas.microsoft.com/office/drawing/2014/main" id="{4C97E2FA-C513-4E4E-AA6F-8506483B7E7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l="29906" t="6144" r="16225" b="41709"/>
              <a:stretch/>
            </p:blipFill>
            <p:spPr>
              <a:xfrm>
                <a:off x="4197439" y="1868128"/>
                <a:ext cx="309786" cy="299885"/>
              </a:xfrm>
              <a:prstGeom prst="rect">
                <a:avLst/>
              </a:prstGeom>
            </p:spPr>
          </p:pic>
        </p:grpSp>
        <p:pic>
          <p:nvPicPr>
            <p:cNvPr id="165" name="Graphic 49">
              <a:extLst>
                <a:ext uri="{FF2B5EF4-FFF2-40B4-BE49-F238E27FC236}">
                  <a16:creationId xmlns:a16="http://schemas.microsoft.com/office/drawing/2014/main" id="{537AF4C7-4243-4CFD-BC45-6E8E3A7657AC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7511804" y="3797779"/>
              <a:ext cx="432000" cy="432000"/>
            </a:xfrm>
            <a:prstGeom prst="rect">
              <a:avLst/>
            </a:prstGeom>
          </p:spPr>
        </p:pic>
        <p:pic>
          <p:nvPicPr>
            <p:cNvPr id="166" name="Graphic 49">
              <a:extLst>
                <a:ext uri="{FF2B5EF4-FFF2-40B4-BE49-F238E27FC236}">
                  <a16:creationId xmlns:a16="http://schemas.microsoft.com/office/drawing/2014/main" id="{537AF4C7-4243-4CFD-BC45-6E8E3A7657AC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/>
          </p:blipFill>
          <p:spPr>
            <a:xfrm>
              <a:off x="7512840" y="3233609"/>
              <a:ext cx="432000" cy="432000"/>
            </a:xfrm>
            <a:prstGeom prst="rect">
              <a:avLst/>
            </a:prstGeom>
          </p:spPr>
        </p:pic>
        <p:pic>
          <p:nvPicPr>
            <p:cNvPr id="167" name="Graphic 49">
              <a:extLst>
                <a:ext uri="{FF2B5EF4-FFF2-40B4-BE49-F238E27FC236}">
                  <a16:creationId xmlns:a16="http://schemas.microsoft.com/office/drawing/2014/main" id="{537AF4C7-4243-4CFD-BC45-6E8E3A7657AC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/>
            <a:stretch/>
          </p:blipFill>
          <p:spPr>
            <a:xfrm>
              <a:off x="7512840" y="2760705"/>
              <a:ext cx="432000" cy="432000"/>
            </a:xfrm>
            <a:prstGeom prst="rect">
              <a:avLst/>
            </a:prstGeom>
          </p:spPr>
        </p:pic>
      </p:grpSp>
      <p:sp>
        <p:nvSpPr>
          <p:cNvPr id="137" name="Rectangle 136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174619" y="2867071"/>
            <a:ext cx="2725395" cy="432000"/>
          </a:xfrm>
          <a:prstGeom prst="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1968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to web Curriculum dello studente</a:t>
            </a:r>
          </a:p>
        </p:txBody>
      </p:sp>
      <p:pic>
        <p:nvPicPr>
          <p:cNvPr id="138" name="Graphic 49">
            <a:extLst>
              <a:ext uri="{FF2B5EF4-FFF2-40B4-BE49-F238E27FC236}">
                <a16:creationId xmlns:a16="http://schemas.microsoft.com/office/drawing/2014/main" id="{537AF4C7-4243-4CFD-BC45-6E8E3A7657AC}"/>
              </a:ext>
            </a:extLst>
          </p:cNvPr>
          <p:cNvPicPr preferRelativeResize="0">
            <a:picLocks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636943" y="2885071"/>
            <a:ext cx="432000" cy="432000"/>
          </a:xfrm>
          <a:prstGeom prst="rect">
            <a:avLst/>
          </a:prstGeom>
        </p:spPr>
      </p:pic>
      <p:sp>
        <p:nvSpPr>
          <p:cNvPr id="108" name="Rounded Rectangle 19">
            <a:extLst>
              <a:ext uri="{FF2B5EF4-FFF2-40B4-BE49-F238E27FC236}">
                <a16:creationId xmlns:a16="http://schemas.microsoft.com/office/drawing/2014/main" id="{D5703467-199F-4B16-A4FE-009320B26D5F}"/>
              </a:ext>
            </a:extLst>
          </p:cNvPr>
          <p:cNvSpPr/>
          <p:nvPr/>
        </p:nvSpPr>
        <p:spPr>
          <a:xfrm>
            <a:off x="876014" y="2281081"/>
            <a:ext cx="3024000" cy="451811"/>
          </a:xfrm>
          <a:prstGeom prst="round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TUTTI</a:t>
            </a:r>
            <a:r>
              <a:rPr kumimoji="0" lang="it-IT" sz="1400" b="1" i="0" u="none" strike="noStrike" kern="1200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GL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UTENTI INTERESSATI</a:t>
            </a:r>
            <a:endParaRPr kumimoji="0" lang="it-IT" sz="1400" b="1" i="0" u="none" strike="noStrike" kern="1200" cap="none" spc="0" normalizeH="0" baseline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C938F024-9485-4037-8281-4A372E2E1C06}"/>
              </a:ext>
            </a:extLst>
          </p:cNvPr>
          <p:cNvSpPr/>
          <p:nvPr/>
        </p:nvSpPr>
        <p:spPr>
          <a:xfrm>
            <a:off x="481354" y="2177468"/>
            <a:ext cx="707178" cy="659036"/>
          </a:xfrm>
          <a:prstGeom prst="ellipse">
            <a:avLst/>
          </a:prstGeom>
          <a:solidFill>
            <a:srgbClr val="FCD6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174619" y="3339974"/>
            <a:ext cx="2725395" cy="603533"/>
          </a:xfrm>
          <a:prstGeom prst="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1968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deo Tutorial generale sul modello del Curriculum dello studente </a:t>
            </a: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0" name="Graphic 49">
            <a:extLst>
              <a:ext uri="{FF2B5EF4-FFF2-40B4-BE49-F238E27FC236}">
                <a16:creationId xmlns:a16="http://schemas.microsoft.com/office/drawing/2014/main" id="{537AF4C7-4243-4CFD-BC45-6E8E3A7657AC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636943" y="3339975"/>
            <a:ext cx="432000" cy="4320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4943" y="2239096"/>
            <a:ext cx="540000" cy="535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05125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780AF4A-9386-4BE3-B38C-08F59D66CC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36854" y="2390862"/>
            <a:ext cx="8607287" cy="2493873"/>
          </a:xfrm>
        </p:spPr>
        <p:txBody>
          <a:bodyPr/>
          <a:lstStyle/>
          <a:p>
            <a:r>
              <a:rPr lang="it-IT" i="1" dirty="0"/>
              <a:t>Grazie per l’attenzione</a:t>
            </a:r>
            <a:br>
              <a:rPr lang="it-IT" i="1" dirty="0"/>
            </a:br>
            <a:br>
              <a:rPr lang="it-IT" i="1" dirty="0"/>
            </a:br>
            <a:endParaRPr lang="it-IT" sz="3600" i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95307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3915">
            <a:extLst>
              <a:ext uri="{FF2B5EF4-FFF2-40B4-BE49-F238E27FC236}">
                <a16:creationId xmlns:a16="http://schemas.microsoft.com/office/drawing/2014/main" id="{78AED8CB-4EE7-41B4-A784-2E5C49DA4E7B}"/>
              </a:ext>
            </a:extLst>
          </p:cNvPr>
          <p:cNvSpPr txBox="1">
            <a:spLocks/>
          </p:cNvSpPr>
          <p:nvPr/>
        </p:nvSpPr>
        <p:spPr>
          <a:xfrm>
            <a:off x="523797" y="1107513"/>
            <a:ext cx="11152266" cy="497779"/>
          </a:xfrm>
          <a:prstGeom prst="rect">
            <a:avLst/>
          </a:prstGeom>
        </p:spPr>
        <p:txBody>
          <a:bodyPr vert="horz" wrap="square" lIns="121900" tIns="121900" rIns="121900" bIns="12190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/>
              <a:t>Cos’è il Curriculum dello student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420478E-733F-4B01-8335-5078C689215F}"/>
              </a:ext>
            </a:extLst>
          </p:cNvPr>
          <p:cNvSpPr txBox="1">
            <a:spLocks/>
          </p:cNvSpPr>
          <p:nvPr/>
        </p:nvSpPr>
        <p:spPr>
          <a:xfrm>
            <a:off x="601663" y="1344802"/>
            <a:ext cx="10988675" cy="874253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Curriculum dello studente è un documento rappresentativo del profilo dello studente </a:t>
            </a:r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contiene tutte le informazioni sul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corso scolastico ed extrascolastico.</a:t>
            </a:r>
          </a:p>
          <a:p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porta al suo interno: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926392" y="2446819"/>
            <a:ext cx="9957844" cy="1584000"/>
            <a:chOff x="926392" y="2665894"/>
            <a:chExt cx="9957844" cy="1584000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8122C511-BE37-45FC-8536-CE66D8E32137}"/>
                </a:ext>
              </a:extLst>
            </p:cNvPr>
            <p:cNvSpPr/>
            <p:nvPr/>
          </p:nvSpPr>
          <p:spPr>
            <a:xfrm>
              <a:off x="2234377" y="3019546"/>
              <a:ext cx="8649859" cy="883425"/>
            </a:xfrm>
            <a:prstGeom prst="rect">
              <a:avLst/>
            </a:prstGeom>
            <a:solidFill>
              <a:srgbClr val="B7E0EC"/>
            </a:solidFill>
          </p:spPr>
          <p:txBody>
            <a:bodyPr wrap="square" anchor="ctr">
              <a:noAutofit/>
            </a:bodyPr>
            <a:lstStyle/>
            <a:p>
              <a:pPr lvl="1" algn="just">
                <a:lnSpc>
                  <a:spcPct val="107000"/>
                </a:lnSpc>
              </a:pPr>
              <a:r>
                <a:rPr lang="it-IT" b="1" dirty="0">
                  <a:ea typeface="Calibri" panose="020F0502020204030204" pitchFamily="34" charset="0"/>
                  <a:cs typeface="Arial" panose="020B0604020202020204" pitchFamily="34" charset="0"/>
                </a:rPr>
                <a:t>Le informazioni relative al percorso scolastico dello studente</a:t>
              </a:r>
              <a:endParaRPr lang="it-IT" strike="sngStrike" dirty="0"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EA696F5E-2E3C-43AE-9E3F-3B117C0A3477}"/>
                </a:ext>
              </a:extLst>
            </p:cNvPr>
            <p:cNvSpPr/>
            <p:nvPr/>
          </p:nvSpPr>
          <p:spPr>
            <a:xfrm>
              <a:off x="926392" y="2665894"/>
              <a:ext cx="1584000" cy="158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38" name="Picture 37" descr="Icon&#10;&#10;Description automatically generated">
              <a:extLst>
                <a:ext uri="{FF2B5EF4-FFF2-40B4-BE49-F238E27FC236}">
                  <a16:creationId xmlns:a16="http://schemas.microsoft.com/office/drawing/2014/main" id="{5424119C-512B-47C0-ADC3-0126197C15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5904" y="2857500"/>
              <a:ext cx="1202816" cy="1202816"/>
            </a:xfrm>
            <a:prstGeom prst="rect">
              <a:avLst/>
            </a:prstGeom>
          </p:spPr>
        </p:pic>
      </p:grpSp>
      <p:grpSp>
        <p:nvGrpSpPr>
          <p:cNvPr id="3" name="Group 2"/>
          <p:cNvGrpSpPr/>
          <p:nvPr/>
        </p:nvGrpSpPr>
        <p:grpSpPr>
          <a:xfrm>
            <a:off x="926392" y="4357405"/>
            <a:ext cx="9957845" cy="1584000"/>
            <a:chOff x="926392" y="4300255"/>
            <a:chExt cx="9957845" cy="1584000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FC0F582A-63DF-4AE7-8A99-3A3908AC250E}"/>
                </a:ext>
              </a:extLst>
            </p:cNvPr>
            <p:cNvSpPr/>
            <p:nvPr/>
          </p:nvSpPr>
          <p:spPr>
            <a:xfrm>
              <a:off x="2234378" y="4610708"/>
              <a:ext cx="8649859" cy="888530"/>
            </a:xfrm>
            <a:prstGeom prst="rect">
              <a:avLst/>
            </a:prstGeom>
            <a:solidFill>
              <a:srgbClr val="B7E0EC"/>
            </a:solidFill>
          </p:spPr>
          <p:txBody>
            <a:bodyPr wrap="square" anchor="ctr">
              <a:noAutofit/>
            </a:bodyPr>
            <a:lstStyle/>
            <a:p>
              <a:pPr lvl="1" algn="just">
                <a:lnSpc>
                  <a:spcPct val="107000"/>
                </a:lnSpc>
                <a:spcAft>
                  <a:spcPts val="800"/>
                </a:spcAft>
              </a:pPr>
              <a:r>
                <a:rPr lang="it-IT" dirty="0">
                  <a:ea typeface="Calibri" panose="020F0502020204030204" pitchFamily="34" charset="0"/>
                  <a:cs typeface="Arial" panose="020B0604020202020204" pitchFamily="34" charset="0"/>
                </a:rPr>
                <a:t>Le </a:t>
              </a:r>
              <a:r>
                <a:rPr lang="it-IT" b="1" dirty="0">
                  <a:ea typeface="Calibri" panose="020F0502020204030204" pitchFamily="34" charset="0"/>
                  <a:cs typeface="Arial" panose="020B0604020202020204" pitchFamily="34" charset="0"/>
                </a:rPr>
                <a:t>certificazioni linguistiche conseguite e le attività extrascolastiche svolte dallo studente </a:t>
              </a:r>
              <a:r>
                <a:rPr lang="it-IT" dirty="0">
                  <a:ea typeface="Calibri" panose="020F0502020204030204" pitchFamily="34" charset="0"/>
                  <a:cs typeface="Arial" panose="020B0604020202020204" pitchFamily="34" charset="0"/>
                </a:rPr>
                <a:t>nel corso degli anni </a:t>
              </a: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AFD3ACB4-9318-44BD-84BB-B1217268C3C1}"/>
                </a:ext>
              </a:extLst>
            </p:cNvPr>
            <p:cNvSpPr/>
            <p:nvPr/>
          </p:nvSpPr>
          <p:spPr>
            <a:xfrm>
              <a:off x="926392" y="4300255"/>
              <a:ext cx="1584000" cy="158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41" name="Picture 40" descr="Icon&#10;&#10;Description automatically generated">
              <a:extLst>
                <a:ext uri="{FF2B5EF4-FFF2-40B4-BE49-F238E27FC236}">
                  <a16:creationId xmlns:a16="http://schemas.microsoft.com/office/drawing/2014/main" id="{D3E3391E-4F1F-409A-A86E-3E9E17D457B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7421" y="4551284"/>
              <a:ext cx="1081941" cy="108194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511362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/>
              <a:t>Il valore del Curriculum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CC53BDD-2381-49A0-B784-AA2F4A1A5266}"/>
              </a:ext>
            </a:extLst>
          </p:cNvPr>
          <p:cNvGrpSpPr/>
          <p:nvPr/>
        </p:nvGrpSpPr>
        <p:grpSpPr>
          <a:xfrm>
            <a:off x="1325415" y="1469335"/>
            <a:ext cx="9556499" cy="1088342"/>
            <a:chOff x="1081503" y="2392435"/>
            <a:chExt cx="9529347" cy="1088342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4E89E70-7A1E-4B29-9375-946C70694F63}"/>
                </a:ext>
              </a:extLst>
            </p:cNvPr>
            <p:cNvSpPr/>
            <p:nvPr/>
          </p:nvSpPr>
          <p:spPr>
            <a:xfrm>
              <a:off x="1411905" y="2433076"/>
              <a:ext cx="9198945" cy="870630"/>
            </a:xfrm>
            <a:prstGeom prst="rect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799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AF56EF1-E0E1-4837-BB59-93E14D6A69C1}"/>
                </a:ext>
              </a:extLst>
            </p:cNvPr>
            <p:cNvSpPr/>
            <p:nvPr/>
          </p:nvSpPr>
          <p:spPr>
            <a:xfrm>
              <a:off x="2393457" y="2571341"/>
              <a:ext cx="7474443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126"/>
              <a:r>
                <a:rPr lang="it-IT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 Curriculum dello studente è rappresentativo dell’</a:t>
              </a:r>
              <a:r>
                <a:rPr lang="it-IT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ero profilo dello studente</a:t>
              </a:r>
              <a:endParaRPr lang="en-US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8293E46B-CA75-4C4C-A298-D63E2517BC20}"/>
                </a:ext>
              </a:extLst>
            </p:cNvPr>
            <p:cNvSpPr/>
            <p:nvPr/>
          </p:nvSpPr>
          <p:spPr>
            <a:xfrm>
              <a:off x="1081503" y="2392435"/>
              <a:ext cx="1194972" cy="108834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A96D9811-0C45-4A91-8F4C-692872D300D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73144" y="2518396"/>
              <a:ext cx="768485" cy="768485"/>
            </a:xfrm>
            <a:prstGeom prst="rect">
              <a:avLst/>
            </a:prstGeom>
          </p:spPr>
        </p:pic>
      </p:grpSp>
      <p:grpSp>
        <p:nvGrpSpPr>
          <p:cNvPr id="2" name="Group 1"/>
          <p:cNvGrpSpPr/>
          <p:nvPr/>
        </p:nvGrpSpPr>
        <p:grpSpPr>
          <a:xfrm>
            <a:off x="1325415" y="5071015"/>
            <a:ext cx="9561246" cy="1088342"/>
            <a:chOff x="1354735" y="4966585"/>
            <a:chExt cx="9561246" cy="1088342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5F5121F9-10AE-497C-AB95-D4B0DDD6A78C}"/>
                </a:ext>
              </a:extLst>
            </p:cNvPr>
            <p:cNvGrpSpPr/>
            <p:nvPr/>
          </p:nvGrpSpPr>
          <p:grpSpPr>
            <a:xfrm>
              <a:off x="1660564" y="4998650"/>
              <a:ext cx="9255417" cy="952895"/>
              <a:chOff x="1139410" y="4337313"/>
              <a:chExt cx="5000133" cy="953143"/>
            </a:xfrm>
            <a:solidFill>
              <a:srgbClr val="FDE69B"/>
            </a:solidFill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1E3E9EF9-FC2E-45AE-9731-E461BD282E7E}"/>
                  </a:ext>
                </a:extLst>
              </p:cNvPr>
              <p:cNvSpPr/>
              <p:nvPr/>
            </p:nvSpPr>
            <p:spPr>
              <a:xfrm>
                <a:off x="1164772" y="4419599"/>
                <a:ext cx="4974771" cy="87085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en-US" sz="1799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25" name="Freeform 19">
                <a:extLst>
                  <a:ext uri="{FF2B5EF4-FFF2-40B4-BE49-F238E27FC236}">
                    <a16:creationId xmlns:a16="http://schemas.microsoft.com/office/drawing/2014/main" id="{818DC7E6-2174-46FD-AD6A-28613F6DE3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9410" y="4337313"/>
                <a:ext cx="315129" cy="425828"/>
              </a:xfrm>
              <a:custGeom>
                <a:avLst/>
                <a:gdLst>
                  <a:gd name="T0" fmla="*/ 1356 w 3084"/>
                  <a:gd name="T1" fmla="*/ 2103 h 3874"/>
                  <a:gd name="T2" fmla="*/ 1338 w 3084"/>
                  <a:gd name="T3" fmla="*/ 2359 h 3874"/>
                  <a:gd name="T4" fmla="*/ 1549 w 3084"/>
                  <a:gd name="T5" fmla="*/ 2487 h 3874"/>
                  <a:gd name="T6" fmla="*/ 1764 w 3084"/>
                  <a:gd name="T7" fmla="*/ 2359 h 3874"/>
                  <a:gd name="T8" fmla="*/ 1744 w 3084"/>
                  <a:gd name="T9" fmla="*/ 2103 h 3874"/>
                  <a:gd name="T10" fmla="*/ 1586 w 3084"/>
                  <a:gd name="T11" fmla="*/ 657 h 3874"/>
                  <a:gd name="T12" fmla="*/ 1144 w 3084"/>
                  <a:gd name="T13" fmla="*/ 765 h 3874"/>
                  <a:gd name="T14" fmla="*/ 1496 w 3084"/>
                  <a:gd name="T15" fmla="*/ 973 h 3874"/>
                  <a:gd name="T16" fmla="*/ 1680 w 3084"/>
                  <a:gd name="T17" fmla="*/ 1074 h 3874"/>
                  <a:gd name="T18" fmla="*/ 1604 w 3084"/>
                  <a:gd name="T19" fmla="*/ 1322 h 3874"/>
                  <a:gd name="T20" fmla="*/ 1386 w 3084"/>
                  <a:gd name="T21" fmla="*/ 1701 h 3874"/>
                  <a:gd name="T22" fmla="*/ 1744 w 3084"/>
                  <a:gd name="T23" fmla="*/ 1739 h 3874"/>
                  <a:gd name="T24" fmla="*/ 1926 w 3084"/>
                  <a:gd name="T25" fmla="*/ 1447 h 3874"/>
                  <a:gd name="T26" fmla="*/ 2083 w 3084"/>
                  <a:gd name="T27" fmla="*/ 1170 h 3874"/>
                  <a:gd name="T28" fmla="*/ 2047 w 3084"/>
                  <a:gd name="T29" fmla="*/ 876 h 3874"/>
                  <a:gd name="T30" fmla="*/ 1814 w 3084"/>
                  <a:gd name="T31" fmla="*/ 690 h 3874"/>
                  <a:gd name="T32" fmla="*/ 1702 w 3084"/>
                  <a:gd name="T33" fmla="*/ 2 h 3874"/>
                  <a:gd name="T34" fmla="*/ 2160 w 3084"/>
                  <a:gd name="T35" fmla="*/ 98 h 3874"/>
                  <a:gd name="T36" fmla="*/ 2629 w 3084"/>
                  <a:gd name="T37" fmla="*/ 411 h 3874"/>
                  <a:gd name="T38" fmla="*/ 2862 w 3084"/>
                  <a:gd name="T39" fmla="*/ 752 h 3874"/>
                  <a:gd name="T40" fmla="*/ 2941 w 3084"/>
                  <a:gd name="T41" fmla="*/ 1235 h 3874"/>
                  <a:gd name="T42" fmla="*/ 2883 w 3084"/>
                  <a:gd name="T43" fmla="*/ 1453 h 3874"/>
                  <a:gd name="T44" fmla="*/ 2869 w 3084"/>
                  <a:gd name="T45" fmla="*/ 1667 h 3874"/>
                  <a:gd name="T46" fmla="*/ 2934 w 3084"/>
                  <a:gd name="T47" fmla="*/ 1791 h 3874"/>
                  <a:gd name="T48" fmla="*/ 3040 w 3084"/>
                  <a:gd name="T49" fmla="*/ 1996 h 3874"/>
                  <a:gd name="T50" fmla="*/ 3084 w 3084"/>
                  <a:gd name="T51" fmla="*/ 2124 h 3874"/>
                  <a:gd name="T52" fmla="*/ 3048 w 3084"/>
                  <a:gd name="T53" fmla="*/ 2195 h 3874"/>
                  <a:gd name="T54" fmla="*/ 2914 w 3084"/>
                  <a:gd name="T55" fmla="*/ 2234 h 3874"/>
                  <a:gd name="T56" fmla="*/ 2886 w 3084"/>
                  <a:gd name="T57" fmla="*/ 2306 h 3874"/>
                  <a:gd name="T58" fmla="*/ 2868 w 3084"/>
                  <a:gd name="T59" fmla="*/ 2500 h 3874"/>
                  <a:gd name="T60" fmla="*/ 2807 w 3084"/>
                  <a:gd name="T61" fmla="*/ 2550 h 3874"/>
                  <a:gd name="T62" fmla="*/ 2829 w 3084"/>
                  <a:gd name="T63" fmla="*/ 2604 h 3874"/>
                  <a:gd name="T64" fmla="*/ 2772 w 3084"/>
                  <a:gd name="T65" fmla="*/ 2733 h 3874"/>
                  <a:gd name="T66" fmla="*/ 2749 w 3084"/>
                  <a:gd name="T67" fmla="*/ 2873 h 3874"/>
                  <a:gd name="T68" fmla="*/ 2755 w 3084"/>
                  <a:gd name="T69" fmla="*/ 2987 h 3874"/>
                  <a:gd name="T70" fmla="*/ 2709 w 3084"/>
                  <a:gd name="T71" fmla="*/ 3087 h 3874"/>
                  <a:gd name="T72" fmla="*/ 2598 w 3084"/>
                  <a:gd name="T73" fmla="*/ 3133 h 3874"/>
                  <a:gd name="T74" fmla="*/ 2303 w 3084"/>
                  <a:gd name="T75" fmla="*/ 3132 h 3874"/>
                  <a:gd name="T76" fmla="*/ 2068 w 3084"/>
                  <a:gd name="T77" fmla="*/ 3122 h 3874"/>
                  <a:gd name="T78" fmla="*/ 1901 w 3084"/>
                  <a:gd name="T79" fmla="*/ 3228 h 3874"/>
                  <a:gd name="T80" fmla="*/ 1810 w 3084"/>
                  <a:gd name="T81" fmla="*/ 3405 h 3874"/>
                  <a:gd name="T82" fmla="*/ 1680 w 3084"/>
                  <a:gd name="T83" fmla="*/ 3674 h 3874"/>
                  <a:gd name="T84" fmla="*/ 1602 w 3084"/>
                  <a:gd name="T85" fmla="*/ 3874 h 3874"/>
                  <a:gd name="T86" fmla="*/ 1524 w 3084"/>
                  <a:gd name="T87" fmla="*/ 3748 h 3874"/>
                  <a:gd name="T88" fmla="*/ 1308 w 3084"/>
                  <a:gd name="T89" fmla="*/ 3457 h 3874"/>
                  <a:gd name="T90" fmla="*/ 987 w 3084"/>
                  <a:gd name="T91" fmla="*/ 3133 h 3874"/>
                  <a:gd name="T92" fmla="*/ 593 w 3084"/>
                  <a:gd name="T93" fmla="*/ 2909 h 3874"/>
                  <a:gd name="T94" fmla="*/ 558 w 3084"/>
                  <a:gd name="T95" fmla="*/ 2795 h 3874"/>
                  <a:gd name="T96" fmla="*/ 538 w 3084"/>
                  <a:gd name="T97" fmla="*/ 2477 h 3874"/>
                  <a:gd name="T98" fmla="*/ 376 w 3084"/>
                  <a:gd name="T99" fmla="*/ 2147 h 3874"/>
                  <a:gd name="T100" fmla="*/ 260 w 3084"/>
                  <a:gd name="T101" fmla="*/ 1980 h 3874"/>
                  <a:gd name="T102" fmla="*/ 96 w 3084"/>
                  <a:gd name="T103" fmla="*/ 1698 h 3874"/>
                  <a:gd name="T104" fmla="*/ 7 w 3084"/>
                  <a:gd name="T105" fmla="*/ 1418 h 3874"/>
                  <a:gd name="T106" fmla="*/ 0 w 3084"/>
                  <a:gd name="T107" fmla="*/ 1301 h 3874"/>
                  <a:gd name="T108" fmla="*/ 64 w 3084"/>
                  <a:gd name="T109" fmla="*/ 962 h 3874"/>
                  <a:gd name="T110" fmla="*/ 367 w 3084"/>
                  <a:gd name="T111" fmla="*/ 471 h 3874"/>
                  <a:gd name="T112" fmla="*/ 638 w 3084"/>
                  <a:gd name="T113" fmla="*/ 232 h 3874"/>
                  <a:gd name="T114" fmla="*/ 1053 w 3084"/>
                  <a:gd name="T115" fmla="*/ 58 h 38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084" h="3874">
                    <a:moveTo>
                      <a:pt x="1549" y="2009"/>
                    </a:moveTo>
                    <a:lnTo>
                      <a:pt x="1509" y="2011"/>
                    </a:lnTo>
                    <a:lnTo>
                      <a:pt x="1471" y="2020"/>
                    </a:lnTo>
                    <a:lnTo>
                      <a:pt x="1438" y="2034"/>
                    </a:lnTo>
                    <a:lnTo>
                      <a:pt x="1406" y="2052"/>
                    </a:lnTo>
                    <a:lnTo>
                      <a:pt x="1379" y="2076"/>
                    </a:lnTo>
                    <a:lnTo>
                      <a:pt x="1356" y="2103"/>
                    </a:lnTo>
                    <a:lnTo>
                      <a:pt x="1338" y="2134"/>
                    </a:lnTo>
                    <a:lnTo>
                      <a:pt x="1324" y="2169"/>
                    </a:lnTo>
                    <a:lnTo>
                      <a:pt x="1316" y="2207"/>
                    </a:lnTo>
                    <a:lnTo>
                      <a:pt x="1313" y="2248"/>
                    </a:lnTo>
                    <a:lnTo>
                      <a:pt x="1315" y="2287"/>
                    </a:lnTo>
                    <a:lnTo>
                      <a:pt x="1324" y="2324"/>
                    </a:lnTo>
                    <a:lnTo>
                      <a:pt x="1338" y="2359"/>
                    </a:lnTo>
                    <a:lnTo>
                      <a:pt x="1355" y="2390"/>
                    </a:lnTo>
                    <a:lnTo>
                      <a:pt x="1379" y="2419"/>
                    </a:lnTo>
                    <a:lnTo>
                      <a:pt x="1405" y="2442"/>
                    </a:lnTo>
                    <a:lnTo>
                      <a:pt x="1436" y="2461"/>
                    </a:lnTo>
                    <a:lnTo>
                      <a:pt x="1470" y="2474"/>
                    </a:lnTo>
                    <a:lnTo>
                      <a:pt x="1508" y="2483"/>
                    </a:lnTo>
                    <a:lnTo>
                      <a:pt x="1549" y="2487"/>
                    </a:lnTo>
                    <a:lnTo>
                      <a:pt x="1590" y="2483"/>
                    </a:lnTo>
                    <a:lnTo>
                      <a:pt x="1629" y="2474"/>
                    </a:lnTo>
                    <a:lnTo>
                      <a:pt x="1664" y="2461"/>
                    </a:lnTo>
                    <a:lnTo>
                      <a:pt x="1695" y="2442"/>
                    </a:lnTo>
                    <a:lnTo>
                      <a:pt x="1722" y="2419"/>
                    </a:lnTo>
                    <a:lnTo>
                      <a:pt x="1745" y="2390"/>
                    </a:lnTo>
                    <a:lnTo>
                      <a:pt x="1764" y="2359"/>
                    </a:lnTo>
                    <a:lnTo>
                      <a:pt x="1776" y="2324"/>
                    </a:lnTo>
                    <a:lnTo>
                      <a:pt x="1785" y="2287"/>
                    </a:lnTo>
                    <a:lnTo>
                      <a:pt x="1787" y="2248"/>
                    </a:lnTo>
                    <a:lnTo>
                      <a:pt x="1784" y="2207"/>
                    </a:lnTo>
                    <a:lnTo>
                      <a:pt x="1776" y="2169"/>
                    </a:lnTo>
                    <a:lnTo>
                      <a:pt x="1762" y="2134"/>
                    </a:lnTo>
                    <a:lnTo>
                      <a:pt x="1744" y="2103"/>
                    </a:lnTo>
                    <a:lnTo>
                      <a:pt x="1721" y="2076"/>
                    </a:lnTo>
                    <a:lnTo>
                      <a:pt x="1694" y="2052"/>
                    </a:lnTo>
                    <a:lnTo>
                      <a:pt x="1662" y="2034"/>
                    </a:lnTo>
                    <a:lnTo>
                      <a:pt x="1629" y="2020"/>
                    </a:lnTo>
                    <a:lnTo>
                      <a:pt x="1590" y="2011"/>
                    </a:lnTo>
                    <a:lnTo>
                      <a:pt x="1549" y="2009"/>
                    </a:lnTo>
                    <a:close/>
                    <a:moveTo>
                      <a:pt x="1586" y="657"/>
                    </a:moveTo>
                    <a:lnTo>
                      <a:pt x="1508" y="661"/>
                    </a:lnTo>
                    <a:lnTo>
                      <a:pt x="1433" y="669"/>
                    </a:lnTo>
                    <a:lnTo>
                      <a:pt x="1363" y="683"/>
                    </a:lnTo>
                    <a:lnTo>
                      <a:pt x="1299" y="699"/>
                    </a:lnTo>
                    <a:lnTo>
                      <a:pt x="1240" y="720"/>
                    </a:lnTo>
                    <a:lnTo>
                      <a:pt x="1188" y="742"/>
                    </a:lnTo>
                    <a:lnTo>
                      <a:pt x="1144" y="765"/>
                    </a:lnTo>
                    <a:lnTo>
                      <a:pt x="1234" y="1052"/>
                    </a:lnTo>
                    <a:lnTo>
                      <a:pt x="1270" y="1030"/>
                    </a:lnTo>
                    <a:lnTo>
                      <a:pt x="1313" y="1010"/>
                    </a:lnTo>
                    <a:lnTo>
                      <a:pt x="1358" y="995"/>
                    </a:lnTo>
                    <a:lnTo>
                      <a:pt x="1405" y="983"/>
                    </a:lnTo>
                    <a:lnTo>
                      <a:pt x="1451" y="975"/>
                    </a:lnTo>
                    <a:lnTo>
                      <a:pt x="1496" y="973"/>
                    </a:lnTo>
                    <a:lnTo>
                      <a:pt x="1538" y="976"/>
                    </a:lnTo>
                    <a:lnTo>
                      <a:pt x="1574" y="984"/>
                    </a:lnTo>
                    <a:lnTo>
                      <a:pt x="1605" y="996"/>
                    </a:lnTo>
                    <a:lnTo>
                      <a:pt x="1631" y="1011"/>
                    </a:lnTo>
                    <a:lnTo>
                      <a:pt x="1652" y="1028"/>
                    </a:lnTo>
                    <a:lnTo>
                      <a:pt x="1669" y="1049"/>
                    </a:lnTo>
                    <a:lnTo>
                      <a:pt x="1680" y="1074"/>
                    </a:lnTo>
                    <a:lnTo>
                      <a:pt x="1687" y="1101"/>
                    </a:lnTo>
                    <a:lnTo>
                      <a:pt x="1690" y="1131"/>
                    </a:lnTo>
                    <a:lnTo>
                      <a:pt x="1685" y="1168"/>
                    </a:lnTo>
                    <a:lnTo>
                      <a:pt x="1674" y="1207"/>
                    </a:lnTo>
                    <a:lnTo>
                      <a:pt x="1656" y="1244"/>
                    </a:lnTo>
                    <a:lnTo>
                      <a:pt x="1632" y="1282"/>
                    </a:lnTo>
                    <a:lnTo>
                      <a:pt x="1604" y="1322"/>
                    </a:lnTo>
                    <a:lnTo>
                      <a:pt x="1571" y="1361"/>
                    </a:lnTo>
                    <a:lnTo>
                      <a:pt x="1536" y="1404"/>
                    </a:lnTo>
                    <a:lnTo>
                      <a:pt x="1489" y="1464"/>
                    </a:lnTo>
                    <a:lnTo>
                      <a:pt x="1451" y="1525"/>
                    </a:lnTo>
                    <a:lnTo>
                      <a:pt x="1421" y="1584"/>
                    </a:lnTo>
                    <a:lnTo>
                      <a:pt x="1400" y="1642"/>
                    </a:lnTo>
                    <a:lnTo>
                      <a:pt x="1386" y="1701"/>
                    </a:lnTo>
                    <a:lnTo>
                      <a:pt x="1379" y="1759"/>
                    </a:lnTo>
                    <a:lnTo>
                      <a:pt x="1379" y="1816"/>
                    </a:lnTo>
                    <a:lnTo>
                      <a:pt x="1381" y="1885"/>
                    </a:lnTo>
                    <a:lnTo>
                      <a:pt x="1735" y="1885"/>
                    </a:lnTo>
                    <a:lnTo>
                      <a:pt x="1735" y="1838"/>
                    </a:lnTo>
                    <a:lnTo>
                      <a:pt x="1736" y="1787"/>
                    </a:lnTo>
                    <a:lnTo>
                      <a:pt x="1744" y="1739"/>
                    </a:lnTo>
                    <a:lnTo>
                      <a:pt x="1756" y="1692"/>
                    </a:lnTo>
                    <a:lnTo>
                      <a:pt x="1775" y="1646"/>
                    </a:lnTo>
                    <a:lnTo>
                      <a:pt x="1800" y="1600"/>
                    </a:lnTo>
                    <a:lnTo>
                      <a:pt x="1831" y="1555"/>
                    </a:lnTo>
                    <a:lnTo>
                      <a:pt x="1870" y="1509"/>
                    </a:lnTo>
                    <a:lnTo>
                      <a:pt x="1897" y="1478"/>
                    </a:lnTo>
                    <a:lnTo>
                      <a:pt x="1926" y="1447"/>
                    </a:lnTo>
                    <a:lnTo>
                      <a:pt x="1955" y="1413"/>
                    </a:lnTo>
                    <a:lnTo>
                      <a:pt x="1982" y="1378"/>
                    </a:lnTo>
                    <a:lnTo>
                      <a:pt x="2008" y="1342"/>
                    </a:lnTo>
                    <a:lnTo>
                      <a:pt x="2032" y="1302"/>
                    </a:lnTo>
                    <a:lnTo>
                      <a:pt x="2053" y="1260"/>
                    </a:lnTo>
                    <a:lnTo>
                      <a:pt x="2071" y="1217"/>
                    </a:lnTo>
                    <a:lnTo>
                      <a:pt x="2083" y="1170"/>
                    </a:lnTo>
                    <a:lnTo>
                      <a:pt x="2092" y="1120"/>
                    </a:lnTo>
                    <a:lnTo>
                      <a:pt x="2095" y="1067"/>
                    </a:lnTo>
                    <a:lnTo>
                      <a:pt x="2093" y="1027"/>
                    </a:lnTo>
                    <a:lnTo>
                      <a:pt x="2087" y="988"/>
                    </a:lnTo>
                    <a:lnTo>
                      <a:pt x="2078" y="948"/>
                    </a:lnTo>
                    <a:lnTo>
                      <a:pt x="2065" y="911"/>
                    </a:lnTo>
                    <a:lnTo>
                      <a:pt x="2047" y="876"/>
                    </a:lnTo>
                    <a:lnTo>
                      <a:pt x="2026" y="842"/>
                    </a:lnTo>
                    <a:lnTo>
                      <a:pt x="2001" y="811"/>
                    </a:lnTo>
                    <a:lnTo>
                      <a:pt x="1972" y="781"/>
                    </a:lnTo>
                    <a:lnTo>
                      <a:pt x="1938" y="754"/>
                    </a:lnTo>
                    <a:lnTo>
                      <a:pt x="1901" y="730"/>
                    </a:lnTo>
                    <a:lnTo>
                      <a:pt x="1860" y="709"/>
                    </a:lnTo>
                    <a:lnTo>
                      <a:pt x="1814" y="690"/>
                    </a:lnTo>
                    <a:lnTo>
                      <a:pt x="1764" y="677"/>
                    </a:lnTo>
                    <a:lnTo>
                      <a:pt x="1709" y="666"/>
                    </a:lnTo>
                    <a:lnTo>
                      <a:pt x="1650" y="660"/>
                    </a:lnTo>
                    <a:lnTo>
                      <a:pt x="1586" y="657"/>
                    </a:lnTo>
                    <a:close/>
                    <a:moveTo>
                      <a:pt x="1591" y="0"/>
                    </a:moveTo>
                    <a:lnTo>
                      <a:pt x="1645" y="0"/>
                    </a:lnTo>
                    <a:lnTo>
                      <a:pt x="1702" y="2"/>
                    </a:lnTo>
                    <a:lnTo>
                      <a:pt x="1762" y="7"/>
                    </a:lnTo>
                    <a:lnTo>
                      <a:pt x="1825" y="13"/>
                    </a:lnTo>
                    <a:lnTo>
                      <a:pt x="1889" y="23"/>
                    </a:lnTo>
                    <a:lnTo>
                      <a:pt x="1955" y="37"/>
                    </a:lnTo>
                    <a:lnTo>
                      <a:pt x="2022" y="53"/>
                    </a:lnTo>
                    <a:lnTo>
                      <a:pt x="2091" y="74"/>
                    </a:lnTo>
                    <a:lnTo>
                      <a:pt x="2160" y="98"/>
                    </a:lnTo>
                    <a:lnTo>
                      <a:pt x="2228" y="127"/>
                    </a:lnTo>
                    <a:lnTo>
                      <a:pt x="2297" y="161"/>
                    </a:lnTo>
                    <a:lnTo>
                      <a:pt x="2366" y="199"/>
                    </a:lnTo>
                    <a:lnTo>
                      <a:pt x="2434" y="244"/>
                    </a:lnTo>
                    <a:lnTo>
                      <a:pt x="2501" y="293"/>
                    </a:lnTo>
                    <a:lnTo>
                      <a:pt x="2565" y="349"/>
                    </a:lnTo>
                    <a:lnTo>
                      <a:pt x="2629" y="411"/>
                    </a:lnTo>
                    <a:lnTo>
                      <a:pt x="2668" y="453"/>
                    </a:lnTo>
                    <a:lnTo>
                      <a:pt x="2707" y="497"/>
                    </a:lnTo>
                    <a:lnTo>
                      <a:pt x="2742" y="544"/>
                    </a:lnTo>
                    <a:lnTo>
                      <a:pt x="2775" y="593"/>
                    </a:lnTo>
                    <a:lnTo>
                      <a:pt x="2808" y="643"/>
                    </a:lnTo>
                    <a:lnTo>
                      <a:pt x="2837" y="697"/>
                    </a:lnTo>
                    <a:lnTo>
                      <a:pt x="2862" y="752"/>
                    </a:lnTo>
                    <a:lnTo>
                      <a:pt x="2885" y="811"/>
                    </a:lnTo>
                    <a:lnTo>
                      <a:pt x="2904" y="872"/>
                    </a:lnTo>
                    <a:lnTo>
                      <a:pt x="2920" y="938"/>
                    </a:lnTo>
                    <a:lnTo>
                      <a:pt x="2931" y="1007"/>
                    </a:lnTo>
                    <a:lnTo>
                      <a:pt x="2939" y="1079"/>
                    </a:lnTo>
                    <a:lnTo>
                      <a:pt x="2943" y="1155"/>
                    </a:lnTo>
                    <a:lnTo>
                      <a:pt x="2941" y="1235"/>
                    </a:lnTo>
                    <a:lnTo>
                      <a:pt x="2936" y="1321"/>
                    </a:lnTo>
                    <a:lnTo>
                      <a:pt x="2933" y="1340"/>
                    </a:lnTo>
                    <a:lnTo>
                      <a:pt x="2925" y="1361"/>
                    </a:lnTo>
                    <a:lnTo>
                      <a:pt x="2916" y="1382"/>
                    </a:lnTo>
                    <a:lnTo>
                      <a:pt x="2905" y="1406"/>
                    </a:lnTo>
                    <a:lnTo>
                      <a:pt x="2894" y="1429"/>
                    </a:lnTo>
                    <a:lnTo>
                      <a:pt x="2883" y="1453"/>
                    </a:lnTo>
                    <a:lnTo>
                      <a:pt x="2871" y="1479"/>
                    </a:lnTo>
                    <a:lnTo>
                      <a:pt x="2863" y="1506"/>
                    </a:lnTo>
                    <a:lnTo>
                      <a:pt x="2857" y="1535"/>
                    </a:lnTo>
                    <a:lnTo>
                      <a:pt x="2853" y="1566"/>
                    </a:lnTo>
                    <a:lnTo>
                      <a:pt x="2853" y="1598"/>
                    </a:lnTo>
                    <a:lnTo>
                      <a:pt x="2859" y="1631"/>
                    </a:lnTo>
                    <a:lnTo>
                      <a:pt x="2869" y="1667"/>
                    </a:lnTo>
                    <a:lnTo>
                      <a:pt x="2886" y="1704"/>
                    </a:lnTo>
                    <a:lnTo>
                      <a:pt x="2888" y="1708"/>
                    </a:lnTo>
                    <a:lnTo>
                      <a:pt x="2893" y="1715"/>
                    </a:lnTo>
                    <a:lnTo>
                      <a:pt x="2900" y="1729"/>
                    </a:lnTo>
                    <a:lnTo>
                      <a:pt x="2909" y="1746"/>
                    </a:lnTo>
                    <a:lnTo>
                      <a:pt x="2921" y="1767"/>
                    </a:lnTo>
                    <a:lnTo>
                      <a:pt x="2934" y="1791"/>
                    </a:lnTo>
                    <a:lnTo>
                      <a:pt x="2949" y="1817"/>
                    </a:lnTo>
                    <a:lnTo>
                      <a:pt x="2964" y="1845"/>
                    </a:lnTo>
                    <a:lnTo>
                      <a:pt x="2980" y="1875"/>
                    </a:lnTo>
                    <a:lnTo>
                      <a:pt x="2995" y="1906"/>
                    </a:lnTo>
                    <a:lnTo>
                      <a:pt x="3011" y="1937"/>
                    </a:lnTo>
                    <a:lnTo>
                      <a:pt x="3026" y="1967"/>
                    </a:lnTo>
                    <a:lnTo>
                      <a:pt x="3040" y="1996"/>
                    </a:lnTo>
                    <a:lnTo>
                      <a:pt x="3053" y="2025"/>
                    </a:lnTo>
                    <a:lnTo>
                      <a:pt x="3064" y="2051"/>
                    </a:lnTo>
                    <a:lnTo>
                      <a:pt x="3073" y="2073"/>
                    </a:lnTo>
                    <a:lnTo>
                      <a:pt x="3080" y="2094"/>
                    </a:lnTo>
                    <a:lnTo>
                      <a:pt x="3084" y="2110"/>
                    </a:lnTo>
                    <a:lnTo>
                      <a:pt x="3084" y="2121"/>
                    </a:lnTo>
                    <a:lnTo>
                      <a:pt x="3084" y="2124"/>
                    </a:lnTo>
                    <a:lnTo>
                      <a:pt x="3084" y="2129"/>
                    </a:lnTo>
                    <a:lnTo>
                      <a:pt x="3083" y="2136"/>
                    </a:lnTo>
                    <a:lnTo>
                      <a:pt x="3080" y="2146"/>
                    </a:lnTo>
                    <a:lnTo>
                      <a:pt x="3075" y="2157"/>
                    </a:lnTo>
                    <a:lnTo>
                      <a:pt x="3069" y="2170"/>
                    </a:lnTo>
                    <a:lnTo>
                      <a:pt x="3060" y="2182"/>
                    </a:lnTo>
                    <a:lnTo>
                      <a:pt x="3048" y="2195"/>
                    </a:lnTo>
                    <a:lnTo>
                      <a:pt x="3030" y="2207"/>
                    </a:lnTo>
                    <a:lnTo>
                      <a:pt x="3010" y="2217"/>
                    </a:lnTo>
                    <a:lnTo>
                      <a:pt x="2985" y="2225"/>
                    </a:lnTo>
                    <a:lnTo>
                      <a:pt x="2954" y="2230"/>
                    </a:lnTo>
                    <a:lnTo>
                      <a:pt x="2919" y="2233"/>
                    </a:lnTo>
                    <a:lnTo>
                      <a:pt x="2918" y="2233"/>
                    </a:lnTo>
                    <a:lnTo>
                      <a:pt x="2914" y="2234"/>
                    </a:lnTo>
                    <a:lnTo>
                      <a:pt x="2909" y="2237"/>
                    </a:lnTo>
                    <a:lnTo>
                      <a:pt x="2904" y="2242"/>
                    </a:lnTo>
                    <a:lnTo>
                      <a:pt x="2899" y="2248"/>
                    </a:lnTo>
                    <a:lnTo>
                      <a:pt x="2894" y="2256"/>
                    </a:lnTo>
                    <a:lnTo>
                      <a:pt x="2889" y="2270"/>
                    </a:lnTo>
                    <a:lnTo>
                      <a:pt x="2886" y="2286"/>
                    </a:lnTo>
                    <a:lnTo>
                      <a:pt x="2886" y="2306"/>
                    </a:lnTo>
                    <a:lnTo>
                      <a:pt x="2888" y="2332"/>
                    </a:lnTo>
                    <a:lnTo>
                      <a:pt x="2890" y="2467"/>
                    </a:lnTo>
                    <a:lnTo>
                      <a:pt x="2890" y="2468"/>
                    </a:lnTo>
                    <a:lnTo>
                      <a:pt x="2888" y="2473"/>
                    </a:lnTo>
                    <a:lnTo>
                      <a:pt x="2884" y="2480"/>
                    </a:lnTo>
                    <a:lnTo>
                      <a:pt x="2878" y="2489"/>
                    </a:lnTo>
                    <a:lnTo>
                      <a:pt x="2868" y="2500"/>
                    </a:lnTo>
                    <a:lnTo>
                      <a:pt x="2854" y="2510"/>
                    </a:lnTo>
                    <a:lnTo>
                      <a:pt x="2835" y="2521"/>
                    </a:lnTo>
                    <a:lnTo>
                      <a:pt x="2810" y="2531"/>
                    </a:lnTo>
                    <a:lnTo>
                      <a:pt x="2809" y="2532"/>
                    </a:lnTo>
                    <a:lnTo>
                      <a:pt x="2808" y="2536"/>
                    </a:lnTo>
                    <a:lnTo>
                      <a:pt x="2807" y="2541"/>
                    </a:lnTo>
                    <a:lnTo>
                      <a:pt x="2807" y="2550"/>
                    </a:lnTo>
                    <a:lnTo>
                      <a:pt x="2809" y="2560"/>
                    </a:lnTo>
                    <a:lnTo>
                      <a:pt x="2818" y="2572"/>
                    </a:lnTo>
                    <a:lnTo>
                      <a:pt x="2819" y="2573"/>
                    </a:lnTo>
                    <a:lnTo>
                      <a:pt x="2822" y="2577"/>
                    </a:lnTo>
                    <a:lnTo>
                      <a:pt x="2824" y="2583"/>
                    </a:lnTo>
                    <a:lnTo>
                      <a:pt x="2827" y="2593"/>
                    </a:lnTo>
                    <a:lnTo>
                      <a:pt x="2829" y="2604"/>
                    </a:lnTo>
                    <a:lnTo>
                      <a:pt x="2828" y="2619"/>
                    </a:lnTo>
                    <a:lnTo>
                      <a:pt x="2825" y="2638"/>
                    </a:lnTo>
                    <a:lnTo>
                      <a:pt x="2818" y="2657"/>
                    </a:lnTo>
                    <a:lnTo>
                      <a:pt x="2807" y="2681"/>
                    </a:lnTo>
                    <a:lnTo>
                      <a:pt x="2789" y="2708"/>
                    </a:lnTo>
                    <a:lnTo>
                      <a:pt x="2780" y="2719"/>
                    </a:lnTo>
                    <a:lnTo>
                      <a:pt x="2772" y="2733"/>
                    </a:lnTo>
                    <a:lnTo>
                      <a:pt x="2762" y="2747"/>
                    </a:lnTo>
                    <a:lnTo>
                      <a:pt x="2754" y="2761"/>
                    </a:lnTo>
                    <a:lnTo>
                      <a:pt x="2747" y="2779"/>
                    </a:lnTo>
                    <a:lnTo>
                      <a:pt x="2743" y="2799"/>
                    </a:lnTo>
                    <a:lnTo>
                      <a:pt x="2740" y="2821"/>
                    </a:lnTo>
                    <a:lnTo>
                      <a:pt x="2743" y="2846"/>
                    </a:lnTo>
                    <a:lnTo>
                      <a:pt x="2749" y="2873"/>
                    </a:lnTo>
                    <a:lnTo>
                      <a:pt x="2749" y="2875"/>
                    </a:lnTo>
                    <a:lnTo>
                      <a:pt x="2750" y="2885"/>
                    </a:lnTo>
                    <a:lnTo>
                      <a:pt x="2753" y="2900"/>
                    </a:lnTo>
                    <a:lnTo>
                      <a:pt x="2754" y="2917"/>
                    </a:lnTo>
                    <a:lnTo>
                      <a:pt x="2755" y="2940"/>
                    </a:lnTo>
                    <a:lnTo>
                      <a:pt x="2757" y="2962"/>
                    </a:lnTo>
                    <a:lnTo>
                      <a:pt x="2755" y="2987"/>
                    </a:lnTo>
                    <a:lnTo>
                      <a:pt x="2753" y="3010"/>
                    </a:lnTo>
                    <a:lnTo>
                      <a:pt x="2747" y="3033"/>
                    </a:lnTo>
                    <a:lnTo>
                      <a:pt x="2739" y="3052"/>
                    </a:lnTo>
                    <a:lnTo>
                      <a:pt x="2728" y="3070"/>
                    </a:lnTo>
                    <a:lnTo>
                      <a:pt x="2713" y="3082"/>
                    </a:lnTo>
                    <a:lnTo>
                      <a:pt x="2712" y="3083"/>
                    </a:lnTo>
                    <a:lnTo>
                      <a:pt x="2709" y="3087"/>
                    </a:lnTo>
                    <a:lnTo>
                      <a:pt x="2703" y="3092"/>
                    </a:lnTo>
                    <a:lnTo>
                      <a:pt x="2694" y="3098"/>
                    </a:lnTo>
                    <a:lnTo>
                      <a:pt x="2682" y="3104"/>
                    </a:lnTo>
                    <a:lnTo>
                      <a:pt x="2667" y="3112"/>
                    </a:lnTo>
                    <a:lnTo>
                      <a:pt x="2648" y="3119"/>
                    </a:lnTo>
                    <a:lnTo>
                      <a:pt x="2624" y="3127"/>
                    </a:lnTo>
                    <a:lnTo>
                      <a:pt x="2598" y="3133"/>
                    </a:lnTo>
                    <a:lnTo>
                      <a:pt x="2565" y="3138"/>
                    </a:lnTo>
                    <a:lnTo>
                      <a:pt x="2529" y="3141"/>
                    </a:lnTo>
                    <a:lnTo>
                      <a:pt x="2488" y="3144"/>
                    </a:lnTo>
                    <a:lnTo>
                      <a:pt x="2441" y="3143"/>
                    </a:lnTo>
                    <a:lnTo>
                      <a:pt x="2388" y="3140"/>
                    </a:lnTo>
                    <a:lnTo>
                      <a:pt x="2329" y="3134"/>
                    </a:lnTo>
                    <a:lnTo>
                      <a:pt x="2303" y="3132"/>
                    </a:lnTo>
                    <a:lnTo>
                      <a:pt x="2274" y="3127"/>
                    </a:lnTo>
                    <a:lnTo>
                      <a:pt x="2243" y="3123"/>
                    </a:lnTo>
                    <a:lnTo>
                      <a:pt x="2211" y="3119"/>
                    </a:lnTo>
                    <a:lnTo>
                      <a:pt x="2176" y="3115"/>
                    </a:lnTo>
                    <a:lnTo>
                      <a:pt x="2141" y="3115"/>
                    </a:lnTo>
                    <a:lnTo>
                      <a:pt x="2105" y="3117"/>
                    </a:lnTo>
                    <a:lnTo>
                      <a:pt x="2068" y="3122"/>
                    </a:lnTo>
                    <a:lnTo>
                      <a:pt x="2033" y="3130"/>
                    </a:lnTo>
                    <a:lnTo>
                      <a:pt x="1998" y="3144"/>
                    </a:lnTo>
                    <a:lnTo>
                      <a:pt x="1966" y="3163"/>
                    </a:lnTo>
                    <a:lnTo>
                      <a:pt x="1935" y="3186"/>
                    </a:lnTo>
                    <a:lnTo>
                      <a:pt x="1907" y="3217"/>
                    </a:lnTo>
                    <a:lnTo>
                      <a:pt x="1905" y="3219"/>
                    </a:lnTo>
                    <a:lnTo>
                      <a:pt x="1901" y="3228"/>
                    </a:lnTo>
                    <a:lnTo>
                      <a:pt x="1894" y="3242"/>
                    </a:lnTo>
                    <a:lnTo>
                      <a:pt x="1884" y="3260"/>
                    </a:lnTo>
                    <a:lnTo>
                      <a:pt x="1872" y="3283"/>
                    </a:lnTo>
                    <a:lnTo>
                      <a:pt x="1859" y="3309"/>
                    </a:lnTo>
                    <a:lnTo>
                      <a:pt x="1844" y="3338"/>
                    </a:lnTo>
                    <a:lnTo>
                      <a:pt x="1827" y="3370"/>
                    </a:lnTo>
                    <a:lnTo>
                      <a:pt x="1810" y="3405"/>
                    </a:lnTo>
                    <a:lnTo>
                      <a:pt x="1791" y="3441"/>
                    </a:lnTo>
                    <a:lnTo>
                      <a:pt x="1772" y="3479"/>
                    </a:lnTo>
                    <a:lnTo>
                      <a:pt x="1754" y="3518"/>
                    </a:lnTo>
                    <a:lnTo>
                      <a:pt x="1734" y="3557"/>
                    </a:lnTo>
                    <a:lnTo>
                      <a:pt x="1715" y="3597"/>
                    </a:lnTo>
                    <a:lnTo>
                      <a:pt x="1697" y="3635"/>
                    </a:lnTo>
                    <a:lnTo>
                      <a:pt x="1680" y="3674"/>
                    </a:lnTo>
                    <a:lnTo>
                      <a:pt x="1664" y="3710"/>
                    </a:lnTo>
                    <a:lnTo>
                      <a:pt x="1649" y="3744"/>
                    </a:lnTo>
                    <a:lnTo>
                      <a:pt x="1635" y="3778"/>
                    </a:lnTo>
                    <a:lnTo>
                      <a:pt x="1624" y="3807"/>
                    </a:lnTo>
                    <a:lnTo>
                      <a:pt x="1614" y="3833"/>
                    </a:lnTo>
                    <a:lnTo>
                      <a:pt x="1607" y="3856"/>
                    </a:lnTo>
                    <a:lnTo>
                      <a:pt x="1602" y="3874"/>
                    </a:lnTo>
                    <a:lnTo>
                      <a:pt x="1601" y="3872"/>
                    </a:lnTo>
                    <a:lnTo>
                      <a:pt x="1596" y="3863"/>
                    </a:lnTo>
                    <a:lnTo>
                      <a:pt x="1588" y="3850"/>
                    </a:lnTo>
                    <a:lnTo>
                      <a:pt x="1576" y="3831"/>
                    </a:lnTo>
                    <a:lnTo>
                      <a:pt x="1561" y="3807"/>
                    </a:lnTo>
                    <a:lnTo>
                      <a:pt x="1544" y="3779"/>
                    </a:lnTo>
                    <a:lnTo>
                      <a:pt x="1524" y="3748"/>
                    </a:lnTo>
                    <a:lnTo>
                      <a:pt x="1500" y="3713"/>
                    </a:lnTo>
                    <a:lnTo>
                      <a:pt x="1475" y="3676"/>
                    </a:lnTo>
                    <a:lnTo>
                      <a:pt x="1446" y="3635"/>
                    </a:lnTo>
                    <a:lnTo>
                      <a:pt x="1415" y="3593"/>
                    </a:lnTo>
                    <a:lnTo>
                      <a:pt x="1381" y="3549"/>
                    </a:lnTo>
                    <a:lnTo>
                      <a:pt x="1346" y="3503"/>
                    </a:lnTo>
                    <a:lnTo>
                      <a:pt x="1308" y="3457"/>
                    </a:lnTo>
                    <a:lnTo>
                      <a:pt x="1268" y="3409"/>
                    </a:lnTo>
                    <a:lnTo>
                      <a:pt x="1225" y="3362"/>
                    </a:lnTo>
                    <a:lnTo>
                      <a:pt x="1182" y="3315"/>
                    </a:lnTo>
                    <a:lnTo>
                      <a:pt x="1135" y="3268"/>
                    </a:lnTo>
                    <a:lnTo>
                      <a:pt x="1088" y="3221"/>
                    </a:lnTo>
                    <a:lnTo>
                      <a:pt x="1038" y="3176"/>
                    </a:lnTo>
                    <a:lnTo>
                      <a:pt x="987" y="3133"/>
                    </a:lnTo>
                    <a:lnTo>
                      <a:pt x="934" y="3092"/>
                    </a:lnTo>
                    <a:lnTo>
                      <a:pt x="881" y="3054"/>
                    </a:lnTo>
                    <a:lnTo>
                      <a:pt x="826" y="3018"/>
                    </a:lnTo>
                    <a:lnTo>
                      <a:pt x="768" y="2984"/>
                    </a:lnTo>
                    <a:lnTo>
                      <a:pt x="711" y="2956"/>
                    </a:lnTo>
                    <a:lnTo>
                      <a:pt x="652" y="2930"/>
                    </a:lnTo>
                    <a:lnTo>
                      <a:pt x="593" y="2909"/>
                    </a:lnTo>
                    <a:lnTo>
                      <a:pt x="532" y="2893"/>
                    </a:lnTo>
                    <a:lnTo>
                      <a:pt x="533" y="2890"/>
                    </a:lnTo>
                    <a:lnTo>
                      <a:pt x="537" y="2882"/>
                    </a:lnTo>
                    <a:lnTo>
                      <a:pt x="542" y="2868"/>
                    </a:lnTo>
                    <a:lnTo>
                      <a:pt x="547" y="2848"/>
                    </a:lnTo>
                    <a:lnTo>
                      <a:pt x="553" y="2823"/>
                    </a:lnTo>
                    <a:lnTo>
                      <a:pt x="558" y="2795"/>
                    </a:lnTo>
                    <a:lnTo>
                      <a:pt x="563" y="2761"/>
                    </a:lnTo>
                    <a:lnTo>
                      <a:pt x="567" y="2723"/>
                    </a:lnTo>
                    <a:lnTo>
                      <a:pt x="567" y="2681"/>
                    </a:lnTo>
                    <a:lnTo>
                      <a:pt x="566" y="2635"/>
                    </a:lnTo>
                    <a:lnTo>
                      <a:pt x="561" y="2586"/>
                    </a:lnTo>
                    <a:lnTo>
                      <a:pt x="552" y="2534"/>
                    </a:lnTo>
                    <a:lnTo>
                      <a:pt x="538" y="2477"/>
                    </a:lnTo>
                    <a:lnTo>
                      <a:pt x="521" y="2419"/>
                    </a:lnTo>
                    <a:lnTo>
                      <a:pt x="497" y="2357"/>
                    </a:lnTo>
                    <a:lnTo>
                      <a:pt x="466" y="2292"/>
                    </a:lnTo>
                    <a:lnTo>
                      <a:pt x="428" y="2227"/>
                    </a:lnTo>
                    <a:lnTo>
                      <a:pt x="385" y="2159"/>
                    </a:lnTo>
                    <a:lnTo>
                      <a:pt x="382" y="2155"/>
                    </a:lnTo>
                    <a:lnTo>
                      <a:pt x="376" y="2147"/>
                    </a:lnTo>
                    <a:lnTo>
                      <a:pt x="367" y="2135"/>
                    </a:lnTo>
                    <a:lnTo>
                      <a:pt x="355" y="2119"/>
                    </a:lnTo>
                    <a:lnTo>
                      <a:pt x="340" y="2098"/>
                    </a:lnTo>
                    <a:lnTo>
                      <a:pt x="322" y="2073"/>
                    </a:lnTo>
                    <a:lnTo>
                      <a:pt x="304" y="2045"/>
                    </a:lnTo>
                    <a:lnTo>
                      <a:pt x="282" y="2014"/>
                    </a:lnTo>
                    <a:lnTo>
                      <a:pt x="260" y="1980"/>
                    </a:lnTo>
                    <a:lnTo>
                      <a:pt x="236" y="1944"/>
                    </a:lnTo>
                    <a:lnTo>
                      <a:pt x="212" y="1906"/>
                    </a:lnTo>
                    <a:lnTo>
                      <a:pt x="189" y="1866"/>
                    </a:lnTo>
                    <a:lnTo>
                      <a:pt x="164" y="1826"/>
                    </a:lnTo>
                    <a:lnTo>
                      <a:pt x="140" y="1784"/>
                    </a:lnTo>
                    <a:lnTo>
                      <a:pt x="117" y="1740"/>
                    </a:lnTo>
                    <a:lnTo>
                      <a:pt x="96" y="1698"/>
                    </a:lnTo>
                    <a:lnTo>
                      <a:pt x="76" y="1655"/>
                    </a:lnTo>
                    <a:lnTo>
                      <a:pt x="57" y="1613"/>
                    </a:lnTo>
                    <a:lnTo>
                      <a:pt x="42" y="1571"/>
                    </a:lnTo>
                    <a:lnTo>
                      <a:pt x="29" y="1530"/>
                    </a:lnTo>
                    <a:lnTo>
                      <a:pt x="19" y="1491"/>
                    </a:lnTo>
                    <a:lnTo>
                      <a:pt x="11" y="1453"/>
                    </a:lnTo>
                    <a:lnTo>
                      <a:pt x="7" y="1418"/>
                    </a:lnTo>
                    <a:lnTo>
                      <a:pt x="7" y="1415"/>
                    </a:lnTo>
                    <a:lnTo>
                      <a:pt x="5" y="1405"/>
                    </a:lnTo>
                    <a:lnTo>
                      <a:pt x="4" y="1390"/>
                    </a:lnTo>
                    <a:lnTo>
                      <a:pt x="1" y="1368"/>
                    </a:lnTo>
                    <a:lnTo>
                      <a:pt x="0" y="1340"/>
                    </a:lnTo>
                    <a:lnTo>
                      <a:pt x="0" y="1321"/>
                    </a:lnTo>
                    <a:lnTo>
                      <a:pt x="0" y="1301"/>
                    </a:lnTo>
                    <a:lnTo>
                      <a:pt x="0" y="1272"/>
                    </a:lnTo>
                    <a:lnTo>
                      <a:pt x="2" y="1230"/>
                    </a:lnTo>
                    <a:lnTo>
                      <a:pt x="9" y="1184"/>
                    </a:lnTo>
                    <a:lnTo>
                      <a:pt x="16" y="1134"/>
                    </a:lnTo>
                    <a:lnTo>
                      <a:pt x="29" y="1080"/>
                    </a:lnTo>
                    <a:lnTo>
                      <a:pt x="44" y="1022"/>
                    </a:lnTo>
                    <a:lnTo>
                      <a:pt x="64" y="962"/>
                    </a:lnTo>
                    <a:lnTo>
                      <a:pt x="89" y="898"/>
                    </a:lnTo>
                    <a:lnTo>
                      <a:pt x="119" y="832"/>
                    </a:lnTo>
                    <a:lnTo>
                      <a:pt x="155" y="764"/>
                    </a:lnTo>
                    <a:lnTo>
                      <a:pt x="197" y="693"/>
                    </a:lnTo>
                    <a:lnTo>
                      <a:pt x="246" y="620"/>
                    </a:lnTo>
                    <a:lnTo>
                      <a:pt x="304" y="547"/>
                    </a:lnTo>
                    <a:lnTo>
                      <a:pt x="367" y="471"/>
                    </a:lnTo>
                    <a:lnTo>
                      <a:pt x="401" y="435"/>
                    </a:lnTo>
                    <a:lnTo>
                      <a:pt x="436" y="400"/>
                    </a:lnTo>
                    <a:lnTo>
                      <a:pt x="472" y="364"/>
                    </a:lnTo>
                    <a:lnTo>
                      <a:pt x="510" y="330"/>
                    </a:lnTo>
                    <a:lnTo>
                      <a:pt x="551" y="296"/>
                    </a:lnTo>
                    <a:lnTo>
                      <a:pt x="593" y="263"/>
                    </a:lnTo>
                    <a:lnTo>
                      <a:pt x="638" y="232"/>
                    </a:lnTo>
                    <a:lnTo>
                      <a:pt x="687" y="202"/>
                    </a:lnTo>
                    <a:lnTo>
                      <a:pt x="738" y="173"/>
                    </a:lnTo>
                    <a:lnTo>
                      <a:pt x="793" y="147"/>
                    </a:lnTo>
                    <a:lnTo>
                      <a:pt x="852" y="121"/>
                    </a:lnTo>
                    <a:lnTo>
                      <a:pt x="914" y="98"/>
                    </a:lnTo>
                    <a:lnTo>
                      <a:pt x="982" y="76"/>
                    </a:lnTo>
                    <a:lnTo>
                      <a:pt x="1053" y="58"/>
                    </a:lnTo>
                    <a:lnTo>
                      <a:pt x="1129" y="41"/>
                    </a:lnTo>
                    <a:lnTo>
                      <a:pt x="1210" y="27"/>
                    </a:lnTo>
                    <a:lnTo>
                      <a:pt x="1296" y="16"/>
                    </a:lnTo>
                    <a:lnTo>
                      <a:pt x="1389" y="7"/>
                    </a:lnTo>
                    <a:lnTo>
                      <a:pt x="1486" y="2"/>
                    </a:lnTo>
                    <a:lnTo>
                      <a:pt x="15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799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49C0B82-F436-466C-BD76-A2D2D0C9AC11}"/>
                </a:ext>
              </a:extLst>
            </p:cNvPr>
            <p:cNvSpPr/>
            <p:nvPr/>
          </p:nvSpPr>
          <p:spPr>
            <a:xfrm>
              <a:off x="2685396" y="5211508"/>
              <a:ext cx="7696050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126"/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Può costituire un valido supporto per l’</a:t>
              </a:r>
              <a:r>
                <a:rPr lang="it-IT" b="1" dirty="0">
                  <a:latin typeface="Arial" panose="020B0604020202020204" pitchFamily="34" charset="0"/>
                  <a:cs typeface="Arial" panose="020B0604020202020204" pitchFamily="34" charset="0"/>
                </a:rPr>
                <a:t>orientamento degli studenti all’università e al mondo del lavoro</a:t>
              </a:r>
              <a:endParaRPr lang="en-US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4672950F-8CEA-4A85-A3C3-6324A9610723}"/>
                </a:ext>
              </a:extLst>
            </p:cNvPr>
            <p:cNvSpPr/>
            <p:nvPr/>
          </p:nvSpPr>
          <p:spPr>
            <a:xfrm>
              <a:off x="1354735" y="4966585"/>
              <a:ext cx="1194972" cy="108834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39" name="Picture 38" descr="Icon&#10;&#10;Description automatically generated">
              <a:extLst>
                <a:ext uri="{FF2B5EF4-FFF2-40B4-BE49-F238E27FC236}">
                  <a16:creationId xmlns:a16="http://schemas.microsoft.com/office/drawing/2014/main" id="{1E4948F3-6725-485F-8ECC-9193100F992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25354" y="5180345"/>
              <a:ext cx="651198" cy="651198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AA4FBCA-70D7-4F94-8DAD-582A838E0643}"/>
              </a:ext>
            </a:extLst>
          </p:cNvPr>
          <p:cNvGrpSpPr/>
          <p:nvPr/>
        </p:nvGrpSpPr>
        <p:grpSpPr>
          <a:xfrm>
            <a:off x="1325415" y="2669895"/>
            <a:ext cx="9561640" cy="1088342"/>
            <a:chOff x="1062796" y="3705527"/>
            <a:chExt cx="9446006" cy="1088342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8A03CAB-0D88-458E-866B-1F9D2BC014EB}"/>
                </a:ext>
              </a:extLst>
            </p:cNvPr>
            <p:cNvSpPr/>
            <p:nvPr/>
          </p:nvSpPr>
          <p:spPr>
            <a:xfrm>
              <a:off x="1337644" y="3804320"/>
              <a:ext cx="9171158" cy="870630"/>
            </a:xfrm>
            <a:prstGeom prst="rect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799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FA98A03-F6E3-45D4-8A01-22739AEE6F4F}"/>
                </a:ext>
              </a:extLst>
            </p:cNvPr>
            <p:cNvSpPr/>
            <p:nvPr/>
          </p:nvSpPr>
          <p:spPr>
            <a:xfrm>
              <a:off x="2393457" y="3929645"/>
              <a:ext cx="7629677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126"/>
              <a:r>
                <a:rPr lang="it-IT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tiene </a:t>
              </a:r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tutte le </a:t>
              </a:r>
              <a:r>
                <a:rPr lang="it-IT" b="1" dirty="0">
                  <a:latin typeface="Arial" panose="020B0604020202020204" pitchFamily="34" charset="0"/>
                  <a:cs typeface="Arial" panose="020B0604020202020204" pitchFamily="34" charset="0"/>
                </a:rPr>
                <a:t>informazioni</a:t>
              </a:r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 relative </a:t>
              </a:r>
              <a:r>
                <a:rPr lang="it-IT" b="1" dirty="0">
                  <a:latin typeface="Arial" panose="020B0604020202020204" pitchFamily="34" charset="0"/>
                  <a:cs typeface="Arial" panose="020B0604020202020204" pitchFamily="34" charset="0"/>
                </a:rPr>
                <a:t>alle competenze acquisite in ambito formale, non formale e informale</a:t>
              </a:r>
              <a:endParaRPr lang="en-US" b="1" strike="sngStrike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7965A2FC-4AD9-4094-B6C3-61DAF1DE77E9}"/>
                </a:ext>
              </a:extLst>
            </p:cNvPr>
            <p:cNvSpPr/>
            <p:nvPr/>
          </p:nvSpPr>
          <p:spPr>
            <a:xfrm>
              <a:off x="1062796" y="3705527"/>
              <a:ext cx="1194972" cy="108834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41" name="Picture 40" descr="Icon&#10;&#10;Description automatically generated">
              <a:extLst>
                <a:ext uri="{FF2B5EF4-FFF2-40B4-BE49-F238E27FC236}">
                  <a16:creationId xmlns:a16="http://schemas.microsoft.com/office/drawing/2014/main" id="{10D09F26-0855-40DF-A35A-1801FF35033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30162" y="3912409"/>
              <a:ext cx="654451" cy="654451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0269FA6-DB36-4838-AED5-E8F8B0D397D3}"/>
              </a:ext>
            </a:extLst>
          </p:cNvPr>
          <p:cNvGrpSpPr/>
          <p:nvPr/>
        </p:nvGrpSpPr>
        <p:grpSpPr>
          <a:xfrm>
            <a:off x="1325415" y="3870455"/>
            <a:ext cx="9561246" cy="1088342"/>
            <a:chOff x="1354735" y="4966585"/>
            <a:chExt cx="9561246" cy="1088342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643F4086-F314-473F-88C2-23AF2DBFCA78}"/>
                </a:ext>
              </a:extLst>
            </p:cNvPr>
            <p:cNvGrpSpPr/>
            <p:nvPr/>
          </p:nvGrpSpPr>
          <p:grpSpPr>
            <a:xfrm>
              <a:off x="1660564" y="4998650"/>
              <a:ext cx="9255417" cy="952895"/>
              <a:chOff x="1139410" y="4337313"/>
              <a:chExt cx="5000133" cy="953143"/>
            </a:xfrm>
            <a:solidFill>
              <a:srgbClr val="FDE69B"/>
            </a:solidFill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DA65CC37-0FAF-4574-AC15-53A4149CFB15}"/>
                  </a:ext>
                </a:extLst>
              </p:cNvPr>
              <p:cNvSpPr/>
              <p:nvPr/>
            </p:nvSpPr>
            <p:spPr>
              <a:xfrm>
                <a:off x="1164772" y="4419599"/>
                <a:ext cx="4974771" cy="87085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en-US" sz="1799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31" name="Freeform 19">
                <a:extLst>
                  <a:ext uri="{FF2B5EF4-FFF2-40B4-BE49-F238E27FC236}">
                    <a16:creationId xmlns:a16="http://schemas.microsoft.com/office/drawing/2014/main" id="{E4DE1F50-11F7-46FF-AE91-1BDE6F4F30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9410" y="4337313"/>
                <a:ext cx="315129" cy="425828"/>
              </a:xfrm>
              <a:custGeom>
                <a:avLst/>
                <a:gdLst>
                  <a:gd name="T0" fmla="*/ 1356 w 3084"/>
                  <a:gd name="T1" fmla="*/ 2103 h 3874"/>
                  <a:gd name="T2" fmla="*/ 1338 w 3084"/>
                  <a:gd name="T3" fmla="*/ 2359 h 3874"/>
                  <a:gd name="T4" fmla="*/ 1549 w 3084"/>
                  <a:gd name="T5" fmla="*/ 2487 h 3874"/>
                  <a:gd name="T6" fmla="*/ 1764 w 3084"/>
                  <a:gd name="T7" fmla="*/ 2359 h 3874"/>
                  <a:gd name="T8" fmla="*/ 1744 w 3084"/>
                  <a:gd name="T9" fmla="*/ 2103 h 3874"/>
                  <a:gd name="T10" fmla="*/ 1586 w 3084"/>
                  <a:gd name="T11" fmla="*/ 657 h 3874"/>
                  <a:gd name="T12" fmla="*/ 1144 w 3084"/>
                  <a:gd name="T13" fmla="*/ 765 h 3874"/>
                  <a:gd name="T14" fmla="*/ 1496 w 3084"/>
                  <a:gd name="T15" fmla="*/ 973 h 3874"/>
                  <a:gd name="T16" fmla="*/ 1680 w 3084"/>
                  <a:gd name="T17" fmla="*/ 1074 h 3874"/>
                  <a:gd name="T18" fmla="*/ 1604 w 3084"/>
                  <a:gd name="T19" fmla="*/ 1322 h 3874"/>
                  <a:gd name="T20" fmla="*/ 1386 w 3084"/>
                  <a:gd name="T21" fmla="*/ 1701 h 3874"/>
                  <a:gd name="T22" fmla="*/ 1744 w 3084"/>
                  <a:gd name="T23" fmla="*/ 1739 h 3874"/>
                  <a:gd name="T24" fmla="*/ 1926 w 3084"/>
                  <a:gd name="T25" fmla="*/ 1447 h 3874"/>
                  <a:gd name="T26" fmla="*/ 2083 w 3084"/>
                  <a:gd name="T27" fmla="*/ 1170 h 3874"/>
                  <a:gd name="T28" fmla="*/ 2047 w 3084"/>
                  <a:gd name="T29" fmla="*/ 876 h 3874"/>
                  <a:gd name="T30" fmla="*/ 1814 w 3084"/>
                  <a:gd name="T31" fmla="*/ 690 h 3874"/>
                  <a:gd name="T32" fmla="*/ 1702 w 3084"/>
                  <a:gd name="T33" fmla="*/ 2 h 3874"/>
                  <a:gd name="T34" fmla="*/ 2160 w 3084"/>
                  <a:gd name="T35" fmla="*/ 98 h 3874"/>
                  <a:gd name="T36" fmla="*/ 2629 w 3084"/>
                  <a:gd name="T37" fmla="*/ 411 h 3874"/>
                  <a:gd name="T38" fmla="*/ 2862 w 3084"/>
                  <a:gd name="T39" fmla="*/ 752 h 3874"/>
                  <a:gd name="T40" fmla="*/ 2941 w 3084"/>
                  <a:gd name="T41" fmla="*/ 1235 h 3874"/>
                  <a:gd name="T42" fmla="*/ 2883 w 3084"/>
                  <a:gd name="T43" fmla="*/ 1453 h 3874"/>
                  <a:gd name="T44" fmla="*/ 2869 w 3084"/>
                  <a:gd name="T45" fmla="*/ 1667 h 3874"/>
                  <a:gd name="T46" fmla="*/ 2934 w 3084"/>
                  <a:gd name="T47" fmla="*/ 1791 h 3874"/>
                  <a:gd name="T48" fmla="*/ 3040 w 3084"/>
                  <a:gd name="T49" fmla="*/ 1996 h 3874"/>
                  <a:gd name="T50" fmla="*/ 3084 w 3084"/>
                  <a:gd name="T51" fmla="*/ 2124 h 3874"/>
                  <a:gd name="T52" fmla="*/ 3048 w 3084"/>
                  <a:gd name="T53" fmla="*/ 2195 h 3874"/>
                  <a:gd name="T54" fmla="*/ 2914 w 3084"/>
                  <a:gd name="T55" fmla="*/ 2234 h 3874"/>
                  <a:gd name="T56" fmla="*/ 2886 w 3084"/>
                  <a:gd name="T57" fmla="*/ 2306 h 3874"/>
                  <a:gd name="T58" fmla="*/ 2868 w 3084"/>
                  <a:gd name="T59" fmla="*/ 2500 h 3874"/>
                  <a:gd name="T60" fmla="*/ 2807 w 3084"/>
                  <a:gd name="T61" fmla="*/ 2550 h 3874"/>
                  <a:gd name="T62" fmla="*/ 2829 w 3084"/>
                  <a:gd name="T63" fmla="*/ 2604 h 3874"/>
                  <a:gd name="T64" fmla="*/ 2772 w 3084"/>
                  <a:gd name="T65" fmla="*/ 2733 h 3874"/>
                  <a:gd name="T66" fmla="*/ 2749 w 3084"/>
                  <a:gd name="T67" fmla="*/ 2873 h 3874"/>
                  <a:gd name="T68" fmla="*/ 2755 w 3084"/>
                  <a:gd name="T69" fmla="*/ 2987 h 3874"/>
                  <a:gd name="T70" fmla="*/ 2709 w 3084"/>
                  <a:gd name="T71" fmla="*/ 3087 h 3874"/>
                  <a:gd name="T72" fmla="*/ 2598 w 3084"/>
                  <a:gd name="T73" fmla="*/ 3133 h 3874"/>
                  <a:gd name="T74" fmla="*/ 2303 w 3084"/>
                  <a:gd name="T75" fmla="*/ 3132 h 3874"/>
                  <a:gd name="T76" fmla="*/ 2068 w 3084"/>
                  <a:gd name="T77" fmla="*/ 3122 h 3874"/>
                  <a:gd name="T78" fmla="*/ 1901 w 3084"/>
                  <a:gd name="T79" fmla="*/ 3228 h 3874"/>
                  <a:gd name="T80" fmla="*/ 1810 w 3084"/>
                  <a:gd name="T81" fmla="*/ 3405 h 3874"/>
                  <a:gd name="T82" fmla="*/ 1680 w 3084"/>
                  <a:gd name="T83" fmla="*/ 3674 h 3874"/>
                  <a:gd name="T84" fmla="*/ 1602 w 3084"/>
                  <a:gd name="T85" fmla="*/ 3874 h 3874"/>
                  <a:gd name="T86" fmla="*/ 1524 w 3084"/>
                  <a:gd name="T87" fmla="*/ 3748 h 3874"/>
                  <a:gd name="T88" fmla="*/ 1308 w 3084"/>
                  <a:gd name="T89" fmla="*/ 3457 h 3874"/>
                  <a:gd name="T90" fmla="*/ 987 w 3084"/>
                  <a:gd name="T91" fmla="*/ 3133 h 3874"/>
                  <a:gd name="T92" fmla="*/ 593 w 3084"/>
                  <a:gd name="T93" fmla="*/ 2909 h 3874"/>
                  <a:gd name="T94" fmla="*/ 558 w 3084"/>
                  <a:gd name="T95" fmla="*/ 2795 h 3874"/>
                  <a:gd name="T96" fmla="*/ 538 w 3084"/>
                  <a:gd name="T97" fmla="*/ 2477 h 3874"/>
                  <a:gd name="T98" fmla="*/ 376 w 3084"/>
                  <a:gd name="T99" fmla="*/ 2147 h 3874"/>
                  <a:gd name="T100" fmla="*/ 260 w 3084"/>
                  <a:gd name="T101" fmla="*/ 1980 h 3874"/>
                  <a:gd name="T102" fmla="*/ 96 w 3084"/>
                  <a:gd name="T103" fmla="*/ 1698 h 3874"/>
                  <a:gd name="T104" fmla="*/ 7 w 3084"/>
                  <a:gd name="T105" fmla="*/ 1418 h 3874"/>
                  <a:gd name="T106" fmla="*/ 0 w 3084"/>
                  <a:gd name="T107" fmla="*/ 1301 h 3874"/>
                  <a:gd name="T108" fmla="*/ 64 w 3084"/>
                  <a:gd name="T109" fmla="*/ 962 h 3874"/>
                  <a:gd name="T110" fmla="*/ 367 w 3084"/>
                  <a:gd name="T111" fmla="*/ 471 h 3874"/>
                  <a:gd name="T112" fmla="*/ 638 w 3084"/>
                  <a:gd name="T113" fmla="*/ 232 h 3874"/>
                  <a:gd name="T114" fmla="*/ 1053 w 3084"/>
                  <a:gd name="T115" fmla="*/ 58 h 38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084" h="3874">
                    <a:moveTo>
                      <a:pt x="1549" y="2009"/>
                    </a:moveTo>
                    <a:lnTo>
                      <a:pt x="1509" y="2011"/>
                    </a:lnTo>
                    <a:lnTo>
                      <a:pt x="1471" y="2020"/>
                    </a:lnTo>
                    <a:lnTo>
                      <a:pt x="1438" y="2034"/>
                    </a:lnTo>
                    <a:lnTo>
                      <a:pt x="1406" y="2052"/>
                    </a:lnTo>
                    <a:lnTo>
                      <a:pt x="1379" y="2076"/>
                    </a:lnTo>
                    <a:lnTo>
                      <a:pt x="1356" y="2103"/>
                    </a:lnTo>
                    <a:lnTo>
                      <a:pt x="1338" y="2134"/>
                    </a:lnTo>
                    <a:lnTo>
                      <a:pt x="1324" y="2169"/>
                    </a:lnTo>
                    <a:lnTo>
                      <a:pt x="1316" y="2207"/>
                    </a:lnTo>
                    <a:lnTo>
                      <a:pt x="1313" y="2248"/>
                    </a:lnTo>
                    <a:lnTo>
                      <a:pt x="1315" y="2287"/>
                    </a:lnTo>
                    <a:lnTo>
                      <a:pt x="1324" y="2324"/>
                    </a:lnTo>
                    <a:lnTo>
                      <a:pt x="1338" y="2359"/>
                    </a:lnTo>
                    <a:lnTo>
                      <a:pt x="1355" y="2390"/>
                    </a:lnTo>
                    <a:lnTo>
                      <a:pt x="1379" y="2419"/>
                    </a:lnTo>
                    <a:lnTo>
                      <a:pt x="1405" y="2442"/>
                    </a:lnTo>
                    <a:lnTo>
                      <a:pt x="1436" y="2461"/>
                    </a:lnTo>
                    <a:lnTo>
                      <a:pt x="1470" y="2474"/>
                    </a:lnTo>
                    <a:lnTo>
                      <a:pt x="1508" y="2483"/>
                    </a:lnTo>
                    <a:lnTo>
                      <a:pt x="1549" y="2487"/>
                    </a:lnTo>
                    <a:lnTo>
                      <a:pt x="1590" y="2483"/>
                    </a:lnTo>
                    <a:lnTo>
                      <a:pt x="1629" y="2474"/>
                    </a:lnTo>
                    <a:lnTo>
                      <a:pt x="1664" y="2461"/>
                    </a:lnTo>
                    <a:lnTo>
                      <a:pt x="1695" y="2442"/>
                    </a:lnTo>
                    <a:lnTo>
                      <a:pt x="1722" y="2419"/>
                    </a:lnTo>
                    <a:lnTo>
                      <a:pt x="1745" y="2390"/>
                    </a:lnTo>
                    <a:lnTo>
                      <a:pt x="1764" y="2359"/>
                    </a:lnTo>
                    <a:lnTo>
                      <a:pt x="1776" y="2324"/>
                    </a:lnTo>
                    <a:lnTo>
                      <a:pt x="1785" y="2287"/>
                    </a:lnTo>
                    <a:lnTo>
                      <a:pt x="1787" y="2248"/>
                    </a:lnTo>
                    <a:lnTo>
                      <a:pt x="1784" y="2207"/>
                    </a:lnTo>
                    <a:lnTo>
                      <a:pt x="1776" y="2169"/>
                    </a:lnTo>
                    <a:lnTo>
                      <a:pt x="1762" y="2134"/>
                    </a:lnTo>
                    <a:lnTo>
                      <a:pt x="1744" y="2103"/>
                    </a:lnTo>
                    <a:lnTo>
                      <a:pt x="1721" y="2076"/>
                    </a:lnTo>
                    <a:lnTo>
                      <a:pt x="1694" y="2052"/>
                    </a:lnTo>
                    <a:lnTo>
                      <a:pt x="1662" y="2034"/>
                    </a:lnTo>
                    <a:lnTo>
                      <a:pt x="1629" y="2020"/>
                    </a:lnTo>
                    <a:lnTo>
                      <a:pt x="1590" y="2011"/>
                    </a:lnTo>
                    <a:lnTo>
                      <a:pt x="1549" y="2009"/>
                    </a:lnTo>
                    <a:close/>
                    <a:moveTo>
                      <a:pt x="1586" y="657"/>
                    </a:moveTo>
                    <a:lnTo>
                      <a:pt x="1508" y="661"/>
                    </a:lnTo>
                    <a:lnTo>
                      <a:pt x="1433" y="669"/>
                    </a:lnTo>
                    <a:lnTo>
                      <a:pt x="1363" y="683"/>
                    </a:lnTo>
                    <a:lnTo>
                      <a:pt x="1299" y="699"/>
                    </a:lnTo>
                    <a:lnTo>
                      <a:pt x="1240" y="720"/>
                    </a:lnTo>
                    <a:lnTo>
                      <a:pt x="1188" y="742"/>
                    </a:lnTo>
                    <a:lnTo>
                      <a:pt x="1144" y="765"/>
                    </a:lnTo>
                    <a:lnTo>
                      <a:pt x="1234" y="1052"/>
                    </a:lnTo>
                    <a:lnTo>
                      <a:pt x="1270" y="1030"/>
                    </a:lnTo>
                    <a:lnTo>
                      <a:pt x="1313" y="1010"/>
                    </a:lnTo>
                    <a:lnTo>
                      <a:pt x="1358" y="995"/>
                    </a:lnTo>
                    <a:lnTo>
                      <a:pt x="1405" y="983"/>
                    </a:lnTo>
                    <a:lnTo>
                      <a:pt x="1451" y="975"/>
                    </a:lnTo>
                    <a:lnTo>
                      <a:pt x="1496" y="973"/>
                    </a:lnTo>
                    <a:lnTo>
                      <a:pt x="1538" y="976"/>
                    </a:lnTo>
                    <a:lnTo>
                      <a:pt x="1574" y="984"/>
                    </a:lnTo>
                    <a:lnTo>
                      <a:pt x="1605" y="996"/>
                    </a:lnTo>
                    <a:lnTo>
                      <a:pt x="1631" y="1011"/>
                    </a:lnTo>
                    <a:lnTo>
                      <a:pt x="1652" y="1028"/>
                    </a:lnTo>
                    <a:lnTo>
                      <a:pt x="1669" y="1049"/>
                    </a:lnTo>
                    <a:lnTo>
                      <a:pt x="1680" y="1074"/>
                    </a:lnTo>
                    <a:lnTo>
                      <a:pt x="1687" y="1101"/>
                    </a:lnTo>
                    <a:lnTo>
                      <a:pt x="1690" y="1131"/>
                    </a:lnTo>
                    <a:lnTo>
                      <a:pt x="1685" y="1168"/>
                    </a:lnTo>
                    <a:lnTo>
                      <a:pt x="1674" y="1207"/>
                    </a:lnTo>
                    <a:lnTo>
                      <a:pt x="1656" y="1244"/>
                    </a:lnTo>
                    <a:lnTo>
                      <a:pt x="1632" y="1282"/>
                    </a:lnTo>
                    <a:lnTo>
                      <a:pt x="1604" y="1322"/>
                    </a:lnTo>
                    <a:lnTo>
                      <a:pt x="1571" y="1361"/>
                    </a:lnTo>
                    <a:lnTo>
                      <a:pt x="1536" y="1404"/>
                    </a:lnTo>
                    <a:lnTo>
                      <a:pt x="1489" y="1464"/>
                    </a:lnTo>
                    <a:lnTo>
                      <a:pt x="1451" y="1525"/>
                    </a:lnTo>
                    <a:lnTo>
                      <a:pt x="1421" y="1584"/>
                    </a:lnTo>
                    <a:lnTo>
                      <a:pt x="1400" y="1642"/>
                    </a:lnTo>
                    <a:lnTo>
                      <a:pt x="1386" y="1701"/>
                    </a:lnTo>
                    <a:lnTo>
                      <a:pt x="1379" y="1759"/>
                    </a:lnTo>
                    <a:lnTo>
                      <a:pt x="1379" y="1816"/>
                    </a:lnTo>
                    <a:lnTo>
                      <a:pt x="1381" y="1885"/>
                    </a:lnTo>
                    <a:lnTo>
                      <a:pt x="1735" y="1885"/>
                    </a:lnTo>
                    <a:lnTo>
                      <a:pt x="1735" y="1838"/>
                    </a:lnTo>
                    <a:lnTo>
                      <a:pt x="1736" y="1787"/>
                    </a:lnTo>
                    <a:lnTo>
                      <a:pt x="1744" y="1739"/>
                    </a:lnTo>
                    <a:lnTo>
                      <a:pt x="1756" y="1692"/>
                    </a:lnTo>
                    <a:lnTo>
                      <a:pt x="1775" y="1646"/>
                    </a:lnTo>
                    <a:lnTo>
                      <a:pt x="1800" y="1600"/>
                    </a:lnTo>
                    <a:lnTo>
                      <a:pt x="1831" y="1555"/>
                    </a:lnTo>
                    <a:lnTo>
                      <a:pt x="1870" y="1509"/>
                    </a:lnTo>
                    <a:lnTo>
                      <a:pt x="1897" y="1478"/>
                    </a:lnTo>
                    <a:lnTo>
                      <a:pt x="1926" y="1447"/>
                    </a:lnTo>
                    <a:lnTo>
                      <a:pt x="1955" y="1413"/>
                    </a:lnTo>
                    <a:lnTo>
                      <a:pt x="1982" y="1378"/>
                    </a:lnTo>
                    <a:lnTo>
                      <a:pt x="2008" y="1342"/>
                    </a:lnTo>
                    <a:lnTo>
                      <a:pt x="2032" y="1302"/>
                    </a:lnTo>
                    <a:lnTo>
                      <a:pt x="2053" y="1260"/>
                    </a:lnTo>
                    <a:lnTo>
                      <a:pt x="2071" y="1217"/>
                    </a:lnTo>
                    <a:lnTo>
                      <a:pt x="2083" y="1170"/>
                    </a:lnTo>
                    <a:lnTo>
                      <a:pt x="2092" y="1120"/>
                    </a:lnTo>
                    <a:lnTo>
                      <a:pt x="2095" y="1067"/>
                    </a:lnTo>
                    <a:lnTo>
                      <a:pt x="2093" y="1027"/>
                    </a:lnTo>
                    <a:lnTo>
                      <a:pt x="2087" y="988"/>
                    </a:lnTo>
                    <a:lnTo>
                      <a:pt x="2078" y="948"/>
                    </a:lnTo>
                    <a:lnTo>
                      <a:pt x="2065" y="911"/>
                    </a:lnTo>
                    <a:lnTo>
                      <a:pt x="2047" y="876"/>
                    </a:lnTo>
                    <a:lnTo>
                      <a:pt x="2026" y="842"/>
                    </a:lnTo>
                    <a:lnTo>
                      <a:pt x="2001" y="811"/>
                    </a:lnTo>
                    <a:lnTo>
                      <a:pt x="1972" y="781"/>
                    </a:lnTo>
                    <a:lnTo>
                      <a:pt x="1938" y="754"/>
                    </a:lnTo>
                    <a:lnTo>
                      <a:pt x="1901" y="730"/>
                    </a:lnTo>
                    <a:lnTo>
                      <a:pt x="1860" y="709"/>
                    </a:lnTo>
                    <a:lnTo>
                      <a:pt x="1814" y="690"/>
                    </a:lnTo>
                    <a:lnTo>
                      <a:pt x="1764" y="677"/>
                    </a:lnTo>
                    <a:lnTo>
                      <a:pt x="1709" y="666"/>
                    </a:lnTo>
                    <a:lnTo>
                      <a:pt x="1650" y="660"/>
                    </a:lnTo>
                    <a:lnTo>
                      <a:pt x="1586" y="657"/>
                    </a:lnTo>
                    <a:close/>
                    <a:moveTo>
                      <a:pt x="1591" y="0"/>
                    </a:moveTo>
                    <a:lnTo>
                      <a:pt x="1645" y="0"/>
                    </a:lnTo>
                    <a:lnTo>
                      <a:pt x="1702" y="2"/>
                    </a:lnTo>
                    <a:lnTo>
                      <a:pt x="1762" y="7"/>
                    </a:lnTo>
                    <a:lnTo>
                      <a:pt x="1825" y="13"/>
                    </a:lnTo>
                    <a:lnTo>
                      <a:pt x="1889" y="23"/>
                    </a:lnTo>
                    <a:lnTo>
                      <a:pt x="1955" y="37"/>
                    </a:lnTo>
                    <a:lnTo>
                      <a:pt x="2022" y="53"/>
                    </a:lnTo>
                    <a:lnTo>
                      <a:pt x="2091" y="74"/>
                    </a:lnTo>
                    <a:lnTo>
                      <a:pt x="2160" y="98"/>
                    </a:lnTo>
                    <a:lnTo>
                      <a:pt x="2228" y="127"/>
                    </a:lnTo>
                    <a:lnTo>
                      <a:pt x="2297" y="161"/>
                    </a:lnTo>
                    <a:lnTo>
                      <a:pt x="2366" y="199"/>
                    </a:lnTo>
                    <a:lnTo>
                      <a:pt x="2434" y="244"/>
                    </a:lnTo>
                    <a:lnTo>
                      <a:pt x="2501" y="293"/>
                    </a:lnTo>
                    <a:lnTo>
                      <a:pt x="2565" y="349"/>
                    </a:lnTo>
                    <a:lnTo>
                      <a:pt x="2629" y="411"/>
                    </a:lnTo>
                    <a:lnTo>
                      <a:pt x="2668" y="453"/>
                    </a:lnTo>
                    <a:lnTo>
                      <a:pt x="2707" y="497"/>
                    </a:lnTo>
                    <a:lnTo>
                      <a:pt x="2742" y="544"/>
                    </a:lnTo>
                    <a:lnTo>
                      <a:pt x="2775" y="593"/>
                    </a:lnTo>
                    <a:lnTo>
                      <a:pt x="2808" y="643"/>
                    </a:lnTo>
                    <a:lnTo>
                      <a:pt x="2837" y="697"/>
                    </a:lnTo>
                    <a:lnTo>
                      <a:pt x="2862" y="752"/>
                    </a:lnTo>
                    <a:lnTo>
                      <a:pt x="2885" y="811"/>
                    </a:lnTo>
                    <a:lnTo>
                      <a:pt x="2904" y="872"/>
                    </a:lnTo>
                    <a:lnTo>
                      <a:pt x="2920" y="938"/>
                    </a:lnTo>
                    <a:lnTo>
                      <a:pt x="2931" y="1007"/>
                    </a:lnTo>
                    <a:lnTo>
                      <a:pt x="2939" y="1079"/>
                    </a:lnTo>
                    <a:lnTo>
                      <a:pt x="2943" y="1155"/>
                    </a:lnTo>
                    <a:lnTo>
                      <a:pt x="2941" y="1235"/>
                    </a:lnTo>
                    <a:lnTo>
                      <a:pt x="2936" y="1321"/>
                    </a:lnTo>
                    <a:lnTo>
                      <a:pt x="2933" y="1340"/>
                    </a:lnTo>
                    <a:lnTo>
                      <a:pt x="2925" y="1361"/>
                    </a:lnTo>
                    <a:lnTo>
                      <a:pt x="2916" y="1382"/>
                    </a:lnTo>
                    <a:lnTo>
                      <a:pt x="2905" y="1406"/>
                    </a:lnTo>
                    <a:lnTo>
                      <a:pt x="2894" y="1429"/>
                    </a:lnTo>
                    <a:lnTo>
                      <a:pt x="2883" y="1453"/>
                    </a:lnTo>
                    <a:lnTo>
                      <a:pt x="2871" y="1479"/>
                    </a:lnTo>
                    <a:lnTo>
                      <a:pt x="2863" y="1506"/>
                    </a:lnTo>
                    <a:lnTo>
                      <a:pt x="2857" y="1535"/>
                    </a:lnTo>
                    <a:lnTo>
                      <a:pt x="2853" y="1566"/>
                    </a:lnTo>
                    <a:lnTo>
                      <a:pt x="2853" y="1598"/>
                    </a:lnTo>
                    <a:lnTo>
                      <a:pt x="2859" y="1631"/>
                    </a:lnTo>
                    <a:lnTo>
                      <a:pt x="2869" y="1667"/>
                    </a:lnTo>
                    <a:lnTo>
                      <a:pt x="2886" y="1704"/>
                    </a:lnTo>
                    <a:lnTo>
                      <a:pt x="2888" y="1708"/>
                    </a:lnTo>
                    <a:lnTo>
                      <a:pt x="2893" y="1715"/>
                    </a:lnTo>
                    <a:lnTo>
                      <a:pt x="2900" y="1729"/>
                    </a:lnTo>
                    <a:lnTo>
                      <a:pt x="2909" y="1746"/>
                    </a:lnTo>
                    <a:lnTo>
                      <a:pt x="2921" y="1767"/>
                    </a:lnTo>
                    <a:lnTo>
                      <a:pt x="2934" y="1791"/>
                    </a:lnTo>
                    <a:lnTo>
                      <a:pt x="2949" y="1817"/>
                    </a:lnTo>
                    <a:lnTo>
                      <a:pt x="2964" y="1845"/>
                    </a:lnTo>
                    <a:lnTo>
                      <a:pt x="2980" y="1875"/>
                    </a:lnTo>
                    <a:lnTo>
                      <a:pt x="2995" y="1906"/>
                    </a:lnTo>
                    <a:lnTo>
                      <a:pt x="3011" y="1937"/>
                    </a:lnTo>
                    <a:lnTo>
                      <a:pt x="3026" y="1967"/>
                    </a:lnTo>
                    <a:lnTo>
                      <a:pt x="3040" y="1996"/>
                    </a:lnTo>
                    <a:lnTo>
                      <a:pt x="3053" y="2025"/>
                    </a:lnTo>
                    <a:lnTo>
                      <a:pt x="3064" y="2051"/>
                    </a:lnTo>
                    <a:lnTo>
                      <a:pt x="3073" y="2073"/>
                    </a:lnTo>
                    <a:lnTo>
                      <a:pt x="3080" y="2094"/>
                    </a:lnTo>
                    <a:lnTo>
                      <a:pt x="3084" y="2110"/>
                    </a:lnTo>
                    <a:lnTo>
                      <a:pt x="3084" y="2121"/>
                    </a:lnTo>
                    <a:lnTo>
                      <a:pt x="3084" y="2124"/>
                    </a:lnTo>
                    <a:lnTo>
                      <a:pt x="3084" y="2129"/>
                    </a:lnTo>
                    <a:lnTo>
                      <a:pt x="3083" y="2136"/>
                    </a:lnTo>
                    <a:lnTo>
                      <a:pt x="3080" y="2146"/>
                    </a:lnTo>
                    <a:lnTo>
                      <a:pt x="3075" y="2157"/>
                    </a:lnTo>
                    <a:lnTo>
                      <a:pt x="3069" y="2170"/>
                    </a:lnTo>
                    <a:lnTo>
                      <a:pt x="3060" y="2182"/>
                    </a:lnTo>
                    <a:lnTo>
                      <a:pt x="3048" y="2195"/>
                    </a:lnTo>
                    <a:lnTo>
                      <a:pt x="3030" y="2207"/>
                    </a:lnTo>
                    <a:lnTo>
                      <a:pt x="3010" y="2217"/>
                    </a:lnTo>
                    <a:lnTo>
                      <a:pt x="2985" y="2225"/>
                    </a:lnTo>
                    <a:lnTo>
                      <a:pt x="2954" y="2230"/>
                    </a:lnTo>
                    <a:lnTo>
                      <a:pt x="2919" y="2233"/>
                    </a:lnTo>
                    <a:lnTo>
                      <a:pt x="2918" y="2233"/>
                    </a:lnTo>
                    <a:lnTo>
                      <a:pt x="2914" y="2234"/>
                    </a:lnTo>
                    <a:lnTo>
                      <a:pt x="2909" y="2237"/>
                    </a:lnTo>
                    <a:lnTo>
                      <a:pt x="2904" y="2242"/>
                    </a:lnTo>
                    <a:lnTo>
                      <a:pt x="2899" y="2248"/>
                    </a:lnTo>
                    <a:lnTo>
                      <a:pt x="2894" y="2256"/>
                    </a:lnTo>
                    <a:lnTo>
                      <a:pt x="2889" y="2270"/>
                    </a:lnTo>
                    <a:lnTo>
                      <a:pt x="2886" y="2286"/>
                    </a:lnTo>
                    <a:lnTo>
                      <a:pt x="2886" y="2306"/>
                    </a:lnTo>
                    <a:lnTo>
                      <a:pt x="2888" y="2332"/>
                    </a:lnTo>
                    <a:lnTo>
                      <a:pt x="2890" y="2467"/>
                    </a:lnTo>
                    <a:lnTo>
                      <a:pt x="2890" y="2468"/>
                    </a:lnTo>
                    <a:lnTo>
                      <a:pt x="2888" y="2473"/>
                    </a:lnTo>
                    <a:lnTo>
                      <a:pt x="2884" y="2480"/>
                    </a:lnTo>
                    <a:lnTo>
                      <a:pt x="2878" y="2489"/>
                    </a:lnTo>
                    <a:lnTo>
                      <a:pt x="2868" y="2500"/>
                    </a:lnTo>
                    <a:lnTo>
                      <a:pt x="2854" y="2510"/>
                    </a:lnTo>
                    <a:lnTo>
                      <a:pt x="2835" y="2521"/>
                    </a:lnTo>
                    <a:lnTo>
                      <a:pt x="2810" y="2531"/>
                    </a:lnTo>
                    <a:lnTo>
                      <a:pt x="2809" y="2532"/>
                    </a:lnTo>
                    <a:lnTo>
                      <a:pt x="2808" y="2536"/>
                    </a:lnTo>
                    <a:lnTo>
                      <a:pt x="2807" y="2541"/>
                    </a:lnTo>
                    <a:lnTo>
                      <a:pt x="2807" y="2550"/>
                    </a:lnTo>
                    <a:lnTo>
                      <a:pt x="2809" y="2560"/>
                    </a:lnTo>
                    <a:lnTo>
                      <a:pt x="2818" y="2572"/>
                    </a:lnTo>
                    <a:lnTo>
                      <a:pt x="2819" y="2573"/>
                    </a:lnTo>
                    <a:lnTo>
                      <a:pt x="2822" y="2577"/>
                    </a:lnTo>
                    <a:lnTo>
                      <a:pt x="2824" y="2583"/>
                    </a:lnTo>
                    <a:lnTo>
                      <a:pt x="2827" y="2593"/>
                    </a:lnTo>
                    <a:lnTo>
                      <a:pt x="2829" y="2604"/>
                    </a:lnTo>
                    <a:lnTo>
                      <a:pt x="2828" y="2619"/>
                    </a:lnTo>
                    <a:lnTo>
                      <a:pt x="2825" y="2638"/>
                    </a:lnTo>
                    <a:lnTo>
                      <a:pt x="2818" y="2657"/>
                    </a:lnTo>
                    <a:lnTo>
                      <a:pt x="2807" y="2681"/>
                    </a:lnTo>
                    <a:lnTo>
                      <a:pt x="2789" y="2708"/>
                    </a:lnTo>
                    <a:lnTo>
                      <a:pt x="2780" y="2719"/>
                    </a:lnTo>
                    <a:lnTo>
                      <a:pt x="2772" y="2733"/>
                    </a:lnTo>
                    <a:lnTo>
                      <a:pt x="2762" y="2747"/>
                    </a:lnTo>
                    <a:lnTo>
                      <a:pt x="2754" y="2761"/>
                    </a:lnTo>
                    <a:lnTo>
                      <a:pt x="2747" y="2779"/>
                    </a:lnTo>
                    <a:lnTo>
                      <a:pt x="2743" y="2799"/>
                    </a:lnTo>
                    <a:lnTo>
                      <a:pt x="2740" y="2821"/>
                    </a:lnTo>
                    <a:lnTo>
                      <a:pt x="2743" y="2846"/>
                    </a:lnTo>
                    <a:lnTo>
                      <a:pt x="2749" y="2873"/>
                    </a:lnTo>
                    <a:lnTo>
                      <a:pt x="2749" y="2875"/>
                    </a:lnTo>
                    <a:lnTo>
                      <a:pt x="2750" y="2885"/>
                    </a:lnTo>
                    <a:lnTo>
                      <a:pt x="2753" y="2900"/>
                    </a:lnTo>
                    <a:lnTo>
                      <a:pt x="2754" y="2917"/>
                    </a:lnTo>
                    <a:lnTo>
                      <a:pt x="2755" y="2940"/>
                    </a:lnTo>
                    <a:lnTo>
                      <a:pt x="2757" y="2962"/>
                    </a:lnTo>
                    <a:lnTo>
                      <a:pt x="2755" y="2987"/>
                    </a:lnTo>
                    <a:lnTo>
                      <a:pt x="2753" y="3010"/>
                    </a:lnTo>
                    <a:lnTo>
                      <a:pt x="2747" y="3033"/>
                    </a:lnTo>
                    <a:lnTo>
                      <a:pt x="2739" y="3052"/>
                    </a:lnTo>
                    <a:lnTo>
                      <a:pt x="2728" y="3070"/>
                    </a:lnTo>
                    <a:lnTo>
                      <a:pt x="2713" y="3082"/>
                    </a:lnTo>
                    <a:lnTo>
                      <a:pt x="2712" y="3083"/>
                    </a:lnTo>
                    <a:lnTo>
                      <a:pt x="2709" y="3087"/>
                    </a:lnTo>
                    <a:lnTo>
                      <a:pt x="2703" y="3092"/>
                    </a:lnTo>
                    <a:lnTo>
                      <a:pt x="2694" y="3098"/>
                    </a:lnTo>
                    <a:lnTo>
                      <a:pt x="2682" y="3104"/>
                    </a:lnTo>
                    <a:lnTo>
                      <a:pt x="2667" y="3112"/>
                    </a:lnTo>
                    <a:lnTo>
                      <a:pt x="2648" y="3119"/>
                    </a:lnTo>
                    <a:lnTo>
                      <a:pt x="2624" y="3127"/>
                    </a:lnTo>
                    <a:lnTo>
                      <a:pt x="2598" y="3133"/>
                    </a:lnTo>
                    <a:lnTo>
                      <a:pt x="2565" y="3138"/>
                    </a:lnTo>
                    <a:lnTo>
                      <a:pt x="2529" y="3141"/>
                    </a:lnTo>
                    <a:lnTo>
                      <a:pt x="2488" y="3144"/>
                    </a:lnTo>
                    <a:lnTo>
                      <a:pt x="2441" y="3143"/>
                    </a:lnTo>
                    <a:lnTo>
                      <a:pt x="2388" y="3140"/>
                    </a:lnTo>
                    <a:lnTo>
                      <a:pt x="2329" y="3134"/>
                    </a:lnTo>
                    <a:lnTo>
                      <a:pt x="2303" y="3132"/>
                    </a:lnTo>
                    <a:lnTo>
                      <a:pt x="2274" y="3127"/>
                    </a:lnTo>
                    <a:lnTo>
                      <a:pt x="2243" y="3123"/>
                    </a:lnTo>
                    <a:lnTo>
                      <a:pt x="2211" y="3119"/>
                    </a:lnTo>
                    <a:lnTo>
                      <a:pt x="2176" y="3115"/>
                    </a:lnTo>
                    <a:lnTo>
                      <a:pt x="2141" y="3115"/>
                    </a:lnTo>
                    <a:lnTo>
                      <a:pt x="2105" y="3117"/>
                    </a:lnTo>
                    <a:lnTo>
                      <a:pt x="2068" y="3122"/>
                    </a:lnTo>
                    <a:lnTo>
                      <a:pt x="2033" y="3130"/>
                    </a:lnTo>
                    <a:lnTo>
                      <a:pt x="1998" y="3144"/>
                    </a:lnTo>
                    <a:lnTo>
                      <a:pt x="1966" y="3163"/>
                    </a:lnTo>
                    <a:lnTo>
                      <a:pt x="1935" y="3186"/>
                    </a:lnTo>
                    <a:lnTo>
                      <a:pt x="1907" y="3217"/>
                    </a:lnTo>
                    <a:lnTo>
                      <a:pt x="1905" y="3219"/>
                    </a:lnTo>
                    <a:lnTo>
                      <a:pt x="1901" y="3228"/>
                    </a:lnTo>
                    <a:lnTo>
                      <a:pt x="1894" y="3242"/>
                    </a:lnTo>
                    <a:lnTo>
                      <a:pt x="1884" y="3260"/>
                    </a:lnTo>
                    <a:lnTo>
                      <a:pt x="1872" y="3283"/>
                    </a:lnTo>
                    <a:lnTo>
                      <a:pt x="1859" y="3309"/>
                    </a:lnTo>
                    <a:lnTo>
                      <a:pt x="1844" y="3338"/>
                    </a:lnTo>
                    <a:lnTo>
                      <a:pt x="1827" y="3370"/>
                    </a:lnTo>
                    <a:lnTo>
                      <a:pt x="1810" y="3405"/>
                    </a:lnTo>
                    <a:lnTo>
                      <a:pt x="1791" y="3441"/>
                    </a:lnTo>
                    <a:lnTo>
                      <a:pt x="1772" y="3479"/>
                    </a:lnTo>
                    <a:lnTo>
                      <a:pt x="1754" y="3518"/>
                    </a:lnTo>
                    <a:lnTo>
                      <a:pt x="1734" y="3557"/>
                    </a:lnTo>
                    <a:lnTo>
                      <a:pt x="1715" y="3597"/>
                    </a:lnTo>
                    <a:lnTo>
                      <a:pt x="1697" y="3635"/>
                    </a:lnTo>
                    <a:lnTo>
                      <a:pt x="1680" y="3674"/>
                    </a:lnTo>
                    <a:lnTo>
                      <a:pt x="1664" y="3710"/>
                    </a:lnTo>
                    <a:lnTo>
                      <a:pt x="1649" y="3744"/>
                    </a:lnTo>
                    <a:lnTo>
                      <a:pt x="1635" y="3778"/>
                    </a:lnTo>
                    <a:lnTo>
                      <a:pt x="1624" y="3807"/>
                    </a:lnTo>
                    <a:lnTo>
                      <a:pt x="1614" y="3833"/>
                    </a:lnTo>
                    <a:lnTo>
                      <a:pt x="1607" y="3856"/>
                    </a:lnTo>
                    <a:lnTo>
                      <a:pt x="1602" y="3874"/>
                    </a:lnTo>
                    <a:lnTo>
                      <a:pt x="1601" y="3872"/>
                    </a:lnTo>
                    <a:lnTo>
                      <a:pt x="1596" y="3863"/>
                    </a:lnTo>
                    <a:lnTo>
                      <a:pt x="1588" y="3850"/>
                    </a:lnTo>
                    <a:lnTo>
                      <a:pt x="1576" y="3831"/>
                    </a:lnTo>
                    <a:lnTo>
                      <a:pt x="1561" y="3807"/>
                    </a:lnTo>
                    <a:lnTo>
                      <a:pt x="1544" y="3779"/>
                    </a:lnTo>
                    <a:lnTo>
                      <a:pt x="1524" y="3748"/>
                    </a:lnTo>
                    <a:lnTo>
                      <a:pt x="1500" y="3713"/>
                    </a:lnTo>
                    <a:lnTo>
                      <a:pt x="1475" y="3676"/>
                    </a:lnTo>
                    <a:lnTo>
                      <a:pt x="1446" y="3635"/>
                    </a:lnTo>
                    <a:lnTo>
                      <a:pt x="1415" y="3593"/>
                    </a:lnTo>
                    <a:lnTo>
                      <a:pt x="1381" y="3549"/>
                    </a:lnTo>
                    <a:lnTo>
                      <a:pt x="1346" y="3503"/>
                    </a:lnTo>
                    <a:lnTo>
                      <a:pt x="1308" y="3457"/>
                    </a:lnTo>
                    <a:lnTo>
                      <a:pt x="1268" y="3409"/>
                    </a:lnTo>
                    <a:lnTo>
                      <a:pt x="1225" y="3362"/>
                    </a:lnTo>
                    <a:lnTo>
                      <a:pt x="1182" y="3315"/>
                    </a:lnTo>
                    <a:lnTo>
                      <a:pt x="1135" y="3268"/>
                    </a:lnTo>
                    <a:lnTo>
                      <a:pt x="1088" y="3221"/>
                    </a:lnTo>
                    <a:lnTo>
                      <a:pt x="1038" y="3176"/>
                    </a:lnTo>
                    <a:lnTo>
                      <a:pt x="987" y="3133"/>
                    </a:lnTo>
                    <a:lnTo>
                      <a:pt x="934" y="3092"/>
                    </a:lnTo>
                    <a:lnTo>
                      <a:pt x="881" y="3054"/>
                    </a:lnTo>
                    <a:lnTo>
                      <a:pt x="826" y="3018"/>
                    </a:lnTo>
                    <a:lnTo>
                      <a:pt x="768" y="2984"/>
                    </a:lnTo>
                    <a:lnTo>
                      <a:pt x="711" y="2956"/>
                    </a:lnTo>
                    <a:lnTo>
                      <a:pt x="652" y="2930"/>
                    </a:lnTo>
                    <a:lnTo>
                      <a:pt x="593" y="2909"/>
                    </a:lnTo>
                    <a:lnTo>
                      <a:pt x="532" y="2893"/>
                    </a:lnTo>
                    <a:lnTo>
                      <a:pt x="533" y="2890"/>
                    </a:lnTo>
                    <a:lnTo>
                      <a:pt x="537" y="2882"/>
                    </a:lnTo>
                    <a:lnTo>
                      <a:pt x="542" y="2868"/>
                    </a:lnTo>
                    <a:lnTo>
                      <a:pt x="547" y="2848"/>
                    </a:lnTo>
                    <a:lnTo>
                      <a:pt x="553" y="2823"/>
                    </a:lnTo>
                    <a:lnTo>
                      <a:pt x="558" y="2795"/>
                    </a:lnTo>
                    <a:lnTo>
                      <a:pt x="563" y="2761"/>
                    </a:lnTo>
                    <a:lnTo>
                      <a:pt x="567" y="2723"/>
                    </a:lnTo>
                    <a:lnTo>
                      <a:pt x="567" y="2681"/>
                    </a:lnTo>
                    <a:lnTo>
                      <a:pt x="566" y="2635"/>
                    </a:lnTo>
                    <a:lnTo>
                      <a:pt x="561" y="2586"/>
                    </a:lnTo>
                    <a:lnTo>
                      <a:pt x="552" y="2534"/>
                    </a:lnTo>
                    <a:lnTo>
                      <a:pt x="538" y="2477"/>
                    </a:lnTo>
                    <a:lnTo>
                      <a:pt x="521" y="2419"/>
                    </a:lnTo>
                    <a:lnTo>
                      <a:pt x="497" y="2357"/>
                    </a:lnTo>
                    <a:lnTo>
                      <a:pt x="466" y="2292"/>
                    </a:lnTo>
                    <a:lnTo>
                      <a:pt x="428" y="2227"/>
                    </a:lnTo>
                    <a:lnTo>
                      <a:pt x="385" y="2159"/>
                    </a:lnTo>
                    <a:lnTo>
                      <a:pt x="382" y="2155"/>
                    </a:lnTo>
                    <a:lnTo>
                      <a:pt x="376" y="2147"/>
                    </a:lnTo>
                    <a:lnTo>
                      <a:pt x="367" y="2135"/>
                    </a:lnTo>
                    <a:lnTo>
                      <a:pt x="355" y="2119"/>
                    </a:lnTo>
                    <a:lnTo>
                      <a:pt x="340" y="2098"/>
                    </a:lnTo>
                    <a:lnTo>
                      <a:pt x="322" y="2073"/>
                    </a:lnTo>
                    <a:lnTo>
                      <a:pt x="304" y="2045"/>
                    </a:lnTo>
                    <a:lnTo>
                      <a:pt x="282" y="2014"/>
                    </a:lnTo>
                    <a:lnTo>
                      <a:pt x="260" y="1980"/>
                    </a:lnTo>
                    <a:lnTo>
                      <a:pt x="236" y="1944"/>
                    </a:lnTo>
                    <a:lnTo>
                      <a:pt x="212" y="1906"/>
                    </a:lnTo>
                    <a:lnTo>
                      <a:pt x="189" y="1866"/>
                    </a:lnTo>
                    <a:lnTo>
                      <a:pt x="164" y="1826"/>
                    </a:lnTo>
                    <a:lnTo>
                      <a:pt x="140" y="1784"/>
                    </a:lnTo>
                    <a:lnTo>
                      <a:pt x="117" y="1740"/>
                    </a:lnTo>
                    <a:lnTo>
                      <a:pt x="96" y="1698"/>
                    </a:lnTo>
                    <a:lnTo>
                      <a:pt x="76" y="1655"/>
                    </a:lnTo>
                    <a:lnTo>
                      <a:pt x="57" y="1613"/>
                    </a:lnTo>
                    <a:lnTo>
                      <a:pt x="42" y="1571"/>
                    </a:lnTo>
                    <a:lnTo>
                      <a:pt x="29" y="1530"/>
                    </a:lnTo>
                    <a:lnTo>
                      <a:pt x="19" y="1491"/>
                    </a:lnTo>
                    <a:lnTo>
                      <a:pt x="11" y="1453"/>
                    </a:lnTo>
                    <a:lnTo>
                      <a:pt x="7" y="1418"/>
                    </a:lnTo>
                    <a:lnTo>
                      <a:pt x="7" y="1415"/>
                    </a:lnTo>
                    <a:lnTo>
                      <a:pt x="5" y="1405"/>
                    </a:lnTo>
                    <a:lnTo>
                      <a:pt x="4" y="1390"/>
                    </a:lnTo>
                    <a:lnTo>
                      <a:pt x="1" y="1368"/>
                    </a:lnTo>
                    <a:lnTo>
                      <a:pt x="0" y="1340"/>
                    </a:lnTo>
                    <a:lnTo>
                      <a:pt x="0" y="1321"/>
                    </a:lnTo>
                    <a:lnTo>
                      <a:pt x="0" y="1301"/>
                    </a:lnTo>
                    <a:lnTo>
                      <a:pt x="0" y="1272"/>
                    </a:lnTo>
                    <a:lnTo>
                      <a:pt x="2" y="1230"/>
                    </a:lnTo>
                    <a:lnTo>
                      <a:pt x="9" y="1184"/>
                    </a:lnTo>
                    <a:lnTo>
                      <a:pt x="16" y="1134"/>
                    </a:lnTo>
                    <a:lnTo>
                      <a:pt x="29" y="1080"/>
                    </a:lnTo>
                    <a:lnTo>
                      <a:pt x="44" y="1022"/>
                    </a:lnTo>
                    <a:lnTo>
                      <a:pt x="64" y="962"/>
                    </a:lnTo>
                    <a:lnTo>
                      <a:pt x="89" y="898"/>
                    </a:lnTo>
                    <a:lnTo>
                      <a:pt x="119" y="832"/>
                    </a:lnTo>
                    <a:lnTo>
                      <a:pt x="155" y="764"/>
                    </a:lnTo>
                    <a:lnTo>
                      <a:pt x="197" y="693"/>
                    </a:lnTo>
                    <a:lnTo>
                      <a:pt x="246" y="620"/>
                    </a:lnTo>
                    <a:lnTo>
                      <a:pt x="304" y="547"/>
                    </a:lnTo>
                    <a:lnTo>
                      <a:pt x="367" y="471"/>
                    </a:lnTo>
                    <a:lnTo>
                      <a:pt x="401" y="435"/>
                    </a:lnTo>
                    <a:lnTo>
                      <a:pt x="436" y="400"/>
                    </a:lnTo>
                    <a:lnTo>
                      <a:pt x="472" y="364"/>
                    </a:lnTo>
                    <a:lnTo>
                      <a:pt x="510" y="330"/>
                    </a:lnTo>
                    <a:lnTo>
                      <a:pt x="551" y="296"/>
                    </a:lnTo>
                    <a:lnTo>
                      <a:pt x="593" y="263"/>
                    </a:lnTo>
                    <a:lnTo>
                      <a:pt x="638" y="232"/>
                    </a:lnTo>
                    <a:lnTo>
                      <a:pt x="687" y="202"/>
                    </a:lnTo>
                    <a:lnTo>
                      <a:pt x="738" y="173"/>
                    </a:lnTo>
                    <a:lnTo>
                      <a:pt x="793" y="147"/>
                    </a:lnTo>
                    <a:lnTo>
                      <a:pt x="852" y="121"/>
                    </a:lnTo>
                    <a:lnTo>
                      <a:pt x="914" y="98"/>
                    </a:lnTo>
                    <a:lnTo>
                      <a:pt x="982" y="76"/>
                    </a:lnTo>
                    <a:lnTo>
                      <a:pt x="1053" y="58"/>
                    </a:lnTo>
                    <a:lnTo>
                      <a:pt x="1129" y="41"/>
                    </a:lnTo>
                    <a:lnTo>
                      <a:pt x="1210" y="27"/>
                    </a:lnTo>
                    <a:lnTo>
                      <a:pt x="1296" y="16"/>
                    </a:lnTo>
                    <a:lnTo>
                      <a:pt x="1389" y="7"/>
                    </a:lnTo>
                    <a:lnTo>
                      <a:pt x="1486" y="2"/>
                    </a:lnTo>
                    <a:lnTo>
                      <a:pt x="15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799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EE6F424-5D91-46D6-9696-F01AC4B4C627}"/>
                </a:ext>
              </a:extLst>
            </p:cNvPr>
            <p:cNvSpPr/>
            <p:nvPr/>
          </p:nvSpPr>
          <p:spPr>
            <a:xfrm>
              <a:off x="2685396" y="5211508"/>
              <a:ext cx="7696050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126"/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È importante per la </a:t>
              </a:r>
              <a:r>
                <a:rPr lang="it-IT" b="1" dirty="0">
                  <a:latin typeface="Arial" panose="020B0604020202020204" pitchFamily="34" charset="0"/>
                  <a:cs typeface="Arial" panose="020B0604020202020204" pitchFamily="34" charset="0"/>
                </a:rPr>
                <a:t>presentazione alla Commissione </a:t>
              </a:r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e lo </a:t>
              </a:r>
              <a:r>
                <a:rPr lang="it-IT" b="1" dirty="0">
                  <a:latin typeface="Arial" panose="020B0604020202020204" pitchFamily="34" charset="0"/>
                  <a:cs typeface="Arial" panose="020B0604020202020204" pitchFamily="34" charset="0"/>
                </a:rPr>
                <a:t>svolgimento del colloquio dell’esame di Stato del secondo ciclo</a:t>
              </a:r>
              <a:endParaRPr lang="en-US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8206879-5A06-4D3A-963D-4A63A20F106A}"/>
                </a:ext>
              </a:extLst>
            </p:cNvPr>
            <p:cNvSpPr/>
            <p:nvPr/>
          </p:nvSpPr>
          <p:spPr>
            <a:xfrm>
              <a:off x="1354735" y="4966585"/>
              <a:ext cx="1194972" cy="108834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1D27A927-67CD-4D93-A942-AFE5C07E16E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577472" y="5157231"/>
              <a:ext cx="792836" cy="7928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5808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78A7279-6512-463F-AAD2-AD75A37AF7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461" y="718457"/>
            <a:ext cx="10254886" cy="616274"/>
          </a:xfrm>
        </p:spPr>
        <p:txBody>
          <a:bodyPr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it-IT" sz="3600" dirty="0"/>
              <a:t>Curriculum dello studente ed esame di Stato</a:t>
            </a:r>
            <a:br>
              <a:rPr lang="it-IT" sz="3600" dirty="0"/>
            </a:br>
            <a:r>
              <a:rPr lang="it-IT" sz="2700" dirty="0">
                <a:solidFill>
                  <a:srgbClr val="0070C0"/>
                </a:solidFill>
              </a:rPr>
              <a:t>(O.M. 53/2021) </a:t>
            </a:r>
            <a:br>
              <a:rPr lang="it-IT" dirty="0"/>
            </a:br>
            <a:endParaRPr lang="it-IT" dirty="0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41F3345D-9FB3-4F2F-9D36-C8C700F1F385}"/>
              </a:ext>
            </a:extLst>
          </p:cNvPr>
          <p:cNvSpPr txBox="1"/>
          <p:nvPr/>
        </p:nvSpPr>
        <p:spPr>
          <a:xfrm>
            <a:off x="566461" y="1606770"/>
            <a:ext cx="10825038" cy="43550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l Curriculum 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è allegato al diploma</a:t>
            </a:r>
          </a:p>
          <a:p>
            <a:pPr marL="285750" lvl="0" indent="-285750" algn="just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it-IT" dirty="0">
                <a:solidFill>
                  <a:prstClr val="black"/>
                </a:solidFill>
              </a:rPr>
              <a:t>l’elaborato concernente le discipline caratterizzanti è integrato, in una prospettiva multidisciplinare, dagli apporti di altre discipline o </a:t>
            </a:r>
            <a:r>
              <a:rPr lang="it-IT" b="1" i="1" dirty="0">
                <a:solidFill>
                  <a:prstClr val="black"/>
                </a:solidFill>
              </a:rPr>
              <a:t>competenze individuali presenti nel Curriculum dello studente</a:t>
            </a:r>
          </a:p>
          <a:p>
            <a:pPr marL="285750" lvl="0" indent="-285750" algn="just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it-IT" dirty="0">
                <a:solidFill>
                  <a:prstClr val="black"/>
                </a:solidFill>
              </a:rPr>
              <a:t>l’argomento dell’elaborato è assegnato a ciascun candidato dal consiglio di </a:t>
            </a:r>
            <a:r>
              <a:rPr lang="it-IT" b="1" i="1" dirty="0">
                <a:solidFill>
                  <a:prstClr val="black"/>
                </a:solidFill>
              </a:rPr>
              <a:t>classe tenendo conto del percorso personale</a:t>
            </a:r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sede di riunione preliminare ogni sottocommissione esamina 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documentazione relativa al percorso scolastico degli stessi al fine dello svolgimento del colloquio</a:t>
            </a:r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lla conduzione del colloquio la sottocommissione 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ene conto delle informazioni contenute nel Curriculum dello studente</a:t>
            </a: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lla predisposizione e nell’assegnazione dei materiali che i candidati devono analizzare la sottocommissione 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ene conto del percorso didattico effettivamente svolto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in coerenza con il documento di ciascun consiglio di classe, al fine di considerare le metodologie adottate, i progetti e le esperienze realizzati, 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 riguardo anche alle iniziative di individualizzazione e personalizzazione eventualmente intraprese nel percorso di studi</a:t>
            </a:r>
          </a:p>
        </p:txBody>
      </p:sp>
    </p:spTree>
    <p:extLst>
      <p:ext uri="{BB962C8B-B14F-4D97-AF65-F5344CB8AC3E}">
        <p14:creationId xmlns:p14="http://schemas.microsoft.com/office/powerpoint/2010/main" val="40245038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3915">
            <a:extLst>
              <a:ext uri="{FF2B5EF4-FFF2-40B4-BE49-F238E27FC236}">
                <a16:creationId xmlns:a16="http://schemas.microsoft.com/office/drawing/2014/main" id="{78AED8CB-4EE7-41B4-A784-2E5C49DA4E7B}"/>
              </a:ext>
            </a:extLst>
          </p:cNvPr>
          <p:cNvSpPr txBox="1">
            <a:spLocks/>
          </p:cNvSpPr>
          <p:nvPr/>
        </p:nvSpPr>
        <p:spPr>
          <a:xfrm>
            <a:off x="523797" y="1107513"/>
            <a:ext cx="11152266" cy="497779"/>
          </a:xfrm>
          <a:prstGeom prst="rect">
            <a:avLst/>
          </a:prstGeom>
        </p:spPr>
        <p:txBody>
          <a:bodyPr vert="horz" wrap="square" lIns="121900" tIns="121900" rIns="121900" bIns="12190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/>
              <a:t>Come è strutturato il Curriculum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420478E-733F-4B01-8335-5078C689215F}"/>
              </a:ext>
            </a:extLst>
          </p:cNvPr>
          <p:cNvSpPr txBox="1">
            <a:spLocks/>
          </p:cNvSpPr>
          <p:nvPr/>
        </p:nvSpPr>
        <p:spPr>
          <a:xfrm>
            <a:off x="601663" y="1344803"/>
            <a:ext cx="10988675" cy="509666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Curriculum dello studente è articolato in tre parti:</a:t>
            </a:r>
            <a:endParaRPr lang="it-IT" sz="1600" strike="sngStrik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CE37802-114B-4420-860E-D8B73659EDCC}"/>
              </a:ext>
            </a:extLst>
          </p:cNvPr>
          <p:cNvSpPr/>
          <p:nvPr/>
        </p:nvSpPr>
        <p:spPr>
          <a:xfrm flipH="1">
            <a:off x="1612762" y="4777730"/>
            <a:ext cx="2743800" cy="1168830"/>
          </a:xfrm>
          <a:prstGeom prst="rect">
            <a:avLst/>
          </a:prstGeom>
          <a:solidFill>
            <a:srgbClr val="B7E0EC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it-IT" sz="1600" b="1" dirty="0"/>
              <a:t>PARTE TERZA</a:t>
            </a:r>
          </a:p>
          <a:p>
            <a:pPr algn="ctr"/>
            <a:endParaRPr lang="it-IT" sz="1600" b="1" dirty="0"/>
          </a:p>
          <a:p>
            <a:pPr algn="ctr"/>
            <a:r>
              <a:rPr lang="it-IT" sz="1600" b="1" dirty="0"/>
              <a:t>Attività extrascolastich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8AAD5DB-0D2B-47F6-8F52-4E21A8F9C873}"/>
              </a:ext>
            </a:extLst>
          </p:cNvPr>
          <p:cNvSpPr/>
          <p:nvPr/>
        </p:nvSpPr>
        <p:spPr>
          <a:xfrm>
            <a:off x="6661505" y="4876145"/>
            <a:ext cx="3923956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cura dello </a:t>
            </a: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ente</a:t>
            </a: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92B5F8A-30FB-43B7-8C6A-2F947355BDCC}"/>
              </a:ext>
            </a:extLst>
          </p:cNvPr>
          <p:cNvSpPr/>
          <p:nvPr/>
        </p:nvSpPr>
        <p:spPr>
          <a:xfrm flipH="1">
            <a:off x="1612762" y="3487491"/>
            <a:ext cx="2743800" cy="1168830"/>
          </a:xfrm>
          <a:prstGeom prst="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600" b="1" dirty="0">
                <a:solidFill>
                  <a:schemeClr val="tx1"/>
                </a:solidFill>
              </a:rPr>
              <a:t>PARTE SECONDA</a:t>
            </a:r>
          </a:p>
          <a:p>
            <a:pPr algn="ctr"/>
            <a:endParaRPr lang="it-IT" sz="1600" b="1" dirty="0">
              <a:solidFill>
                <a:schemeClr val="tx1"/>
              </a:solidFill>
            </a:endParaRPr>
          </a:p>
          <a:p>
            <a:pPr algn="ctr"/>
            <a:r>
              <a:rPr lang="it-IT" sz="1600" b="1" dirty="0">
                <a:solidFill>
                  <a:schemeClr val="tx1"/>
                </a:solidFill>
              </a:rPr>
              <a:t>Certificazioni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EEBAD82-882A-4C23-B28E-A8D60409EAE0}"/>
              </a:ext>
            </a:extLst>
          </p:cNvPr>
          <p:cNvSpPr/>
          <p:nvPr/>
        </p:nvSpPr>
        <p:spPr>
          <a:xfrm>
            <a:off x="6661505" y="3585906"/>
            <a:ext cx="3923956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cura della </a:t>
            </a: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uola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/o dello </a:t>
            </a: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ente</a:t>
            </a: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623F6BF-66C7-4E33-86ED-0F59C799EF8A}"/>
              </a:ext>
            </a:extLst>
          </p:cNvPr>
          <p:cNvCxnSpPr/>
          <p:nvPr/>
        </p:nvCxnSpPr>
        <p:spPr>
          <a:xfrm>
            <a:off x="1606538" y="3434112"/>
            <a:ext cx="878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0E05168-B77B-45FA-992C-F60762D586B2}"/>
              </a:ext>
            </a:extLst>
          </p:cNvPr>
          <p:cNvCxnSpPr/>
          <p:nvPr/>
        </p:nvCxnSpPr>
        <p:spPr>
          <a:xfrm>
            <a:off x="1606538" y="4711224"/>
            <a:ext cx="878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ECC0A41F-CBB4-4A20-A19E-2BBD909872F3}"/>
              </a:ext>
            </a:extLst>
          </p:cNvPr>
          <p:cNvSpPr/>
          <p:nvPr/>
        </p:nvSpPr>
        <p:spPr>
          <a:xfrm>
            <a:off x="1612762" y="2235025"/>
            <a:ext cx="2743800" cy="1168830"/>
          </a:xfrm>
          <a:prstGeom prst="rect">
            <a:avLst/>
          </a:prstGeom>
          <a:solidFill>
            <a:srgbClr val="AB24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600" b="1" dirty="0">
                <a:solidFill>
                  <a:schemeClr val="bg1"/>
                </a:solidFill>
              </a:rPr>
              <a:t>PARTE PRIMA</a:t>
            </a:r>
          </a:p>
          <a:p>
            <a:pPr algn="ctr"/>
            <a:endParaRPr lang="it-IT" sz="1600" b="1" dirty="0">
              <a:solidFill>
                <a:schemeClr val="bg1"/>
              </a:solidFill>
            </a:endParaRPr>
          </a:p>
          <a:p>
            <a:pPr algn="ctr"/>
            <a:r>
              <a:rPr lang="it-IT" sz="1600" b="1" dirty="0">
                <a:solidFill>
                  <a:schemeClr val="bg1"/>
                </a:solidFill>
              </a:rPr>
              <a:t>Istruzione e formazio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3ACC376-66A0-4970-A38E-AFF9E51B1C4F}"/>
              </a:ext>
            </a:extLst>
          </p:cNvPr>
          <p:cNvSpPr/>
          <p:nvPr/>
        </p:nvSpPr>
        <p:spPr>
          <a:xfrm>
            <a:off x="6661505" y="2289808"/>
            <a:ext cx="3923956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 cura della </a:t>
            </a: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uola</a:t>
            </a: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E64AA96-565D-4A61-A317-9CC18B0471C3}"/>
              </a:ext>
            </a:extLst>
          </p:cNvPr>
          <p:cNvCxnSpPr>
            <a:cxnSpLocks/>
          </p:cNvCxnSpPr>
          <p:nvPr/>
        </p:nvCxnSpPr>
        <p:spPr>
          <a:xfrm>
            <a:off x="4438866" y="2238801"/>
            <a:ext cx="0" cy="37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6" descr="A clock on a yellow building&#10;&#10;Description automatically generated">
            <a:extLst>
              <a:ext uri="{FF2B5EF4-FFF2-40B4-BE49-F238E27FC236}">
                <a16:creationId xmlns:a16="http://schemas.microsoft.com/office/drawing/2014/main" id="{156EEA6E-CA97-479A-ADF5-45AFB001CD0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789" y="2312009"/>
            <a:ext cx="978901" cy="978901"/>
          </a:xfrm>
          <a:prstGeom prst="rect">
            <a:avLst/>
          </a:prstGeom>
        </p:spPr>
      </p:pic>
      <p:pic>
        <p:nvPicPr>
          <p:cNvPr id="28" name="Picture 27" descr="A clock on a yellow building&#10;&#10;Description automatically generated">
            <a:extLst>
              <a:ext uri="{FF2B5EF4-FFF2-40B4-BE49-F238E27FC236}">
                <a16:creationId xmlns:a16="http://schemas.microsoft.com/office/drawing/2014/main" id="{81D23BE2-8037-4EE4-A400-CD438832136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4917" y="3574757"/>
            <a:ext cx="978901" cy="978901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C11CA78-EDEF-4E60-8FC6-4B87939724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74891" y="3534224"/>
            <a:ext cx="978901" cy="978901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84E56725-634D-4420-A98F-F0E8B1CF70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0789" y="4864543"/>
            <a:ext cx="978901" cy="978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6743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4E5B3CCF-0DFB-4315-88C5-B70013E7BDD5}"/>
              </a:ext>
            </a:extLst>
          </p:cNvPr>
          <p:cNvSpPr/>
          <p:nvPr/>
        </p:nvSpPr>
        <p:spPr>
          <a:xfrm>
            <a:off x="6605659" y="2259313"/>
            <a:ext cx="2310493" cy="3166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4FF8014-08FD-4222-AD45-FD89CBF0472A}"/>
              </a:ext>
            </a:extLst>
          </p:cNvPr>
          <p:cNvSpPr/>
          <p:nvPr/>
        </p:nvSpPr>
        <p:spPr>
          <a:xfrm>
            <a:off x="9006711" y="2259312"/>
            <a:ext cx="2310493" cy="3166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BF52997-1638-4176-B6EF-72CD3A5C604A}"/>
              </a:ext>
            </a:extLst>
          </p:cNvPr>
          <p:cNvSpPr/>
          <p:nvPr/>
        </p:nvSpPr>
        <p:spPr>
          <a:xfrm>
            <a:off x="4204607" y="2259314"/>
            <a:ext cx="2310493" cy="3166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5EDDA2-A593-4722-B5FA-C71B8C06C838}"/>
              </a:ext>
            </a:extLst>
          </p:cNvPr>
          <p:cNvSpPr/>
          <p:nvPr/>
        </p:nvSpPr>
        <p:spPr>
          <a:xfrm>
            <a:off x="0" y="-53326"/>
            <a:ext cx="1804737" cy="6966518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CAFE996-E0E4-4C2A-B421-8180F378C9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Il documento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B890BD6-76FD-489E-9085-FF0895F0F938}"/>
              </a:ext>
            </a:extLst>
          </p:cNvPr>
          <p:cNvSpPr txBox="1">
            <a:spLocks/>
          </p:cNvSpPr>
          <p:nvPr/>
        </p:nvSpPr>
        <p:spPr>
          <a:xfrm>
            <a:off x="601663" y="1344803"/>
            <a:ext cx="10988675" cy="484188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A401"/>
              </a:buClr>
            </a:pPr>
            <a:r>
              <a:rPr lang="it-IT" sz="1800" b="0" dirty="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La scuola e lo studente hanno la possibilità di generare un </a:t>
            </a:r>
            <a:r>
              <a:rPr lang="it-IT" sz="1800" dirty="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documento in formato PDF </a:t>
            </a:r>
            <a:r>
              <a:rPr lang="it-IT" sz="1800" b="0" dirty="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contenente </a:t>
            </a:r>
            <a:r>
              <a:rPr lang="it-IT" sz="1800" dirty="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tutte le informazioni del Curriculum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CD9493E8-E3BA-42A2-AA6C-8FCDF508C99D}"/>
              </a:ext>
            </a:extLst>
          </p:cNvPr>
          <p:cNvGrpSpPr/>
          <p:nvPr/>
        </p:nvGrpSpPr>
        <p:grpSpPr>
          <a:xfrm>
            <a:off x="631775" y="2259312"/>
            <a:ext cx="2625666" cy="3477614"/>
            <a:chOff x="601663" y="2184277"/>
            <a:chExt cx="2340171" cy="327327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CD5B4DB-5552-47F3-9B60-55500B4775C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26404" y="2339677"/>
              <a:ext cx="2215430" cy="3117876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0A1567A3-21C9-4A1C-972C-FDF808D3A3E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65791" y="2261977"/>
              <a:ext cx="2210656" cy="3117876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36B294E3-5316-4D0C-9E0F-9A1EEEFCF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01663" y="2184277"/>
              <a:ext cx="2208033" cy="3117876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</p:grpSp>
      <p:sp>
        <p:nvSpPr>
          <p:cNvPr id="2" name="Right Brace 1">
            <a:extLst>
              <a:ext uri="{FF2B5EF4-FFF2-40B4-BE49-F238E27FC236}">
                <a16:creationId xmlns:a16="http://schemas.microsoft.com/office/drawing/2014/main" id="{EA73F41A-B03E-4F48-BAF4-1B3FFA0426CD}"/>
              </a:ext>
            </a:extLst>
          </p:cNvPr>
          <p:cNvSpPr/>
          <p:nvPr/>
        </p:nvSpPr>
        <p:spPr>
          <a:xfrm>
            <a:off x="3347357" y="2098221"/>
            <a:ext cx="506185" cy="3878036"/>
          </a:xfrm>
          <a:prstGeom prst="rightBrac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A27C584-A181-417F-8ACE-1F353AE3E40F}"/>
              </a:ext>
            </a:extLst>
          </p:cNvPr>
          <p:cNvGrpSpPr/>
          <p:nvPr/>
        </p:nvGrpSpPr>
        <p:grpSpPr>
          <a:xfrm>
            <a:off x="4425119" y="2696022"/>
            <a:ext cx="1869469" cy="2545941"/>
            <a:chOff x="4423598" y="2566940"/>
            <a:chExt cx="1869469" cy="2545941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3F2409FD-682A-43AC-A4E9-81ECFB8F7CF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765528" y="2946086"/>
              <a:ext cx="1527539" cy="2166795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C258056A-BF45-4827-A78A-1D702BEC4AE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652461" y="2828700"/>
              <a:ext cx="1520578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D6D899A7-3FFD-4322-A926-1BE43C26BC3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32433" y="2697820"/>
              <a:ext cx="1530044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ABAC1DB6-4036-494C-8118-FA377478846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23598" y="2566940"/>
              <a:ext cx="1526747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BA447A35-590C-4892-A4E8-FC987F121D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97532" y="2696021"/>
            <a:ext cx="1526747" cy="2153302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93DCDAA6-81FA-430B-B3C4-4F8542774321}"/>
              </a:ext>
            </a:extLst>
          </p:cNvPr>
          <p:cNvGrpSpPr/>
          <p:nvPr/>
        </p:nvGrpSpPr>
        <p:grpSpPr>
          <a:xfrm>
            <a:off x="9284084" y="2696021"/>
            <a:ext cx="1755746" cy="2415061"/>
            <a:chOff x="9245948" y="2547944"/>
            <a:chExt cx="1755746" cy="2415061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94409CB5-C419-4DF4-934E-E7748F83B4A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474947" y="2809704"/>
              <a:ext cx="1526747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42F0E8E8-6CCD-4D1E-89DD-0B6595A98C3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360981" y="2678823"/>
              <a:ext cx="1525680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F45339E9-0E39-49C7-A739-105DA34BBC3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9245948" y="2547944"/>
              <a:ext cx="1523129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6AA1A68E-587E-4016-BF2F-57C83ACCAB3D}"/>
              </a:ext>
            </a:extLst>
          </p:cNvPr>
          <p:cNvSpPr txBox="1"/>
          <p:nvPr/>
        </p:nvSpPr>
        <p:spPr>
          <a:xfrm>
            <a:off x="4807956" y="2283806"/>
            <a:ext cx="1103794" cy="27166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it-IT" sz="1400" b="1" dirty="0">
                <a:solidFill>
                  <a:schemeClr val="tx2"/>
                </a:solidFill>
              </a:rPr>
              <a:t>PARTE I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E89C420-9003-469C-99FD-3BA88204DA06}"/>
              </a:ext>
            </a:extLst>
          </p:cNvPr>
          <p:cNvSpPr txBox="1"/>
          <p:nvPr/>
        </p:nvSpPr>
        <p:spPr>
          <a:xfrm>
            <a:off x="7209008" y="2283806"/>
            <a:ext cx="1103794" cy="27166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it-IT" sz="1400" b="1" dirty="0">
                <a:solidFill>
                  <a:schemeClr val="tx2"/>
                </a:solidFill>
              </a:rPr>
              <a:t>PARTE II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067258C-B341-4B79-8166-E3E26D5EAC15}"/>
              </a:ext>
            </a:extLst>
          </p:cNvPr>
          <p:cNvSpPr txBox="1"/>
          <p:nvPr/>
        </p:nvSpPr>
        <p:spPr>
          <a:xfrm>
            <a:off x="9610060" y="2283806"/>
            <a:ext cx="1103794" cy="27166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it-IT" sz="1400" b="1" dirty="0">
                <a:solidFill>
                  <a:schemeClr val="tx2"/>
                </a:solidFill>
              </a:rPr>
              <a:t>PARTE III</a:t>
            </a:r>
          </a:p>
        </p:txBody>
      </p:sp>
    </p:spTree>
    <p:extLst>
      <p:ext uri="{BB962C8B-B14F-4D97-AF65-F5344CB8AC3E}">
        <p14:creationId xmlns:p14="http://schemas.microsoft.com/office/powerpoint/2010/main" val="21249082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02DB035C-6204-4A40-B89C-DAA56A023F7A}"/>
              </a:ext>
            </a:extLst>
          </p:cNvPr>
          <p:cNvSpPr/>
          <p:nvPr/>
        </p:nvSpPr>
        <p:spPr>
          <a:xfrm>
            <a:off x="1663845" y="4369307"/>
            <a:ext cx="9822734" cy="872753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AAAFF46-7677-4E96-9A92-8B1D764ABD7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0000"/>
          <a:stretch/>
        </p:blipFill>
        <p:spPr>
          <a:xfrm>
            <a:off x="1468874" y="4266319"/>
            <a:ext cx="597460" cy="108518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13D7E30-1905-47FF-8080-FF211CFBFA9B}"/>
              </a:ext>
            </a:extLst>
          </p:cNvPr>
          <p:cNvSpPr/>
          <p:nvPr/>
        </p:nvSpPr>
        <p:spPr>
          <a:xfrm>
            <a:off x="1767604" y="2963880"/>
            <a:ext cx="9822734" cy="872753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FE7DBC9-A221-4EDD-9B03-4FDBCF93B237}"/>
              </a:ext>
            </a:extLst>
          </p:cNvPr>
          <p:cNvSpPr/>
          <p:nvPr/>
        </p:nvSpPr>
        <p:spPr>
          <a:xfrm>
            <a:off x="892467" y="2875887"/>
            <a:ext cx="1194972" cy="1088342"/>
          </a:xfrm>
          <a:prstGeom prst="ellipse">
            <a:avLst/>
          </a:prstGeom>
          <a:solidFill>
            <a:schemeClr val="bg1"/>
          </a:solidFill>
          <a:ln w="38100">
            <a:solidFill>
              <a:srgbClr val="FDE6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1600" b="1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6" name="Shape 3915">
            <a:extLst>
              <a:ext uri="{FF2B5EF4-FFF2-40B4-BE49-F238E27FC236}">
                <a16:creationId xmlns:a16="http://schemas.microsoft.com/office/drawing/2014/main" id="{78AED8CB-4EE7-41B4-A784-2E5C49DA4E7B}"/>
              </a:ext>
            </a:extLst>
          </p:cNvPr>
          <p:cNvSpPr txBox="1">
            <a:spLocks/>
          </p:cNvSpPr>
          <p:nvPr/>
        </p:nvSpPr>
        <p:spPr>
          <a:xfrm>
            <a:off x="523797" y="1107513"/>
            <a:ext cx="11152266" cy="497779"/>
          </a:xfrm>
          <a:prstGeom prst="rect">
            <a:avLst/>
          </a:prstGeom>
        </p:spPr>
        <p:txBody>
          <a:bodyPr vert="horz" wrap="square" lIns="121900" tIns="121900" rIns="121900" bIns="12190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/>
              <a:t>La piattaforma informatic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420478E-733F-4B01-8335-5078C689215F}"/>
              </a:ext>
            </a:extLst>
          </p:cNvPr>
          <p:cNvSpPr txBox="1">
            <a:spLocks/>
          </p:cNvSpPr>
          <p:nvPr/>
        </p:nvSpPr>
        <p:spPr>
          <a:xfrm>
            <a:off x="601663" y="1344802"/>
            <a:ext cx="10988675" cy="874253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supportare tutti gli attori coinvolti nella predisposizione del Curriculum dello studente,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è stata sviluppata una piattaforma semplice, veloce ed intuitiva</a:t>
            </a:r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nominata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“Curriculum dello studente”</a:t>
            </a:r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it-IT" sz="16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piattaforma consente</a:t>
            </a:r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pic>
        <p:nvPicPr>
          <p:cNvPr id="14" name="Picture 13" descr="A clock on a yellow building&#10;&#10;Description automatically generated">
            <a:extLst>
              <a:ext uri="{FF2B5EF4-FFF2-40B4-BE49-F238E27FC236}">
                <a16:creationId xmlns:a16="http://schemas.microsoft.com/office/drawing/2014/main" id="{9976C42A-D9E1-49D3-830F-7F270077238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974" y="2857732"/>
            <a:ext cx="978901" cy="97890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19DA3F4-2925-4694-8160-51427FA8DB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0502" y="4263159"/>
            <a:ext cx="978901" cy="97890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DF0C19A-3DE9-41AD-9598-1D7825ABD499}"/>
              </a:ext>
            </a:extLst>
          </p:cNvPr>
          <p:cNvSpPr/>
          <p:nvPr/>
        </p:nvSpPr>
        <p:spPr>
          <a:xfrm>
            <a:off x="2243819" y="3100206"/>
            <a:ext cx="9129605" cy="619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07000"/>
              </a:lnSpc>
              <a:spcAft>
                <a:spcPts val="0"/>
              </a:spcAft>
            </a:pPr>
            <a:r>
              <a:rPr lang="it-IT" sz="1600" b="1" dirty="0">
                <a:ea typeface="Calibri" panose="020F0502020204030204" pitchFamily="34" charset="0"/>
                <a:cs typeface="Arial" panose="020B0604020202020204" pitchFamily="34" charset="0"/>
              </a:rPr>
              <a:t>alle scuole, di verificare ed eventualmente integrare le informazioni </a:t>
            </a:r>
            <a:r>
              <a:rPr lang="it-IT" sz="1600" dirty="0">
                <a:ea typeface="Calibri" panose="020F0502020204030204" pitchFamily="34" charset="0"/>
                <a:cs typeface="Arial" panose="020B0604020202020204" pitchFamily="34" charset="0"/>
              </a:rPr>
              <a:t>già presenti all’interno del sistema informativo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7191EBD-BD33-49A0-8FBE-E6340BD2A828}"/>
              </a:ext>
            </a:extLst>
          </p:cNvPr>
          <p:cNvSpPr/>
          <p:nvPr/>
        </p:nvSpPr>
        <p:spPr>
          <a:xfrm>
            <a:off x="2208910" y="4505633"/>
            <a:ext cx="9129607" cy="600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07000"/>
              </a:lnSpc>
              <a:spcAft>
                <a:spcPts val="800"/>
              </a:spcAft>
            </a:pPr>
            <a:r>
              <a:rPr lang="it-IT" sz="1600" b="1" dirty="0">
                <a:ea typeface="Calibri" panose="020F0502020204030204" pitchFamily="34" charset="0"/>
                <a:cs typeface="Arial" panose="020B0604020202020204" pitchFamily="34" charset="0"/>
              </a:rPr>
              <a:t>allo studente, di inserire la descrizione delle attività extrascolastiche </a:t>
            </a:r>
            <a:r>
              <a:rPr lang="it-IT" sz="1600" dirty="0">
                <a:ea typeface="Calibri" panose="020F0502020204030204" pitchFamily="34" charset="0"/>
                <a:cs typeface="Arial" panose="020B0604020202020204" pitchFamily="34" charset="0"/>
              </a:rPr>
              <a:t>e tutte le informazioni che ritiene necessarie per completare il proprio profilo.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AE25051-D89B-4EC8-9D58-E49CE614FFAA}"/>
              </a:ext>
            </a:extLst>
          </p:cNvPr>
          <p:cNvSpPr/>
          <p:nvPr/>
        </p:nvSpPr>
        <p:spPr>
          <a:xfrm>
            <a:off x="892467" y="4263159"/>
            <a:ext cx="1194972" cy="1088342"/>
          </a:xfrm>
          <a:prstGeom prst="ellipse">
            <a:avLst/>
          </a:prstGeom>
          <a:noFill/>
          <a:ln w="38100">
            <a:solidFill>
              <a:srgbClr val="FDE6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1600" b="1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2492354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I_C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2.xml><?xml version="1.0" encoding="utf-8"?>
<a:theme xmlns:a="http://schemas.openxmlformats.org/drawingml/2006/main" name="1_MI_C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3.xml><?xml version="1.0" encoding="utf-8"?>
<a:theme xmlns:a="http://schemas.openxmlformats.org/drawingml/2006/main" name="2_MI_C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4.xml><?xml version="1.0" encoding="utf-8"?>
<a:theme xmlns:a="http://schemas.openxmlformats.org/drawingml/2006/main" name="3_MI_C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5.xml><?xml version="1.0" encoding="utf-8"?>
<a:theme xmlns:a="http://schemas.openxmlformats.org/drawingml/2006/main" name="4_MI_C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260EE250A7704B93AC6558DED4C9F0" ma:contentTypeVersion="12" ma:contentTypeDescription="Create a new document." ma:contentTypeScope="" ma:versionID="85b9e9ab095e3095011c3375a024457e">
  <xsd:schema xmlns:xsd="http://www.w3.org/2001/XMLSchema" xmlns:xs="http://www.w3.org/2001/XMLSchema" xmlns:p="http://schemas.microsoft.com/office/2006/metadata/properties" xmlns:ns3="aa68e20f-c3f0-4972-a9d0-e6d88263737a" xmlns:ns4="d94a225f-c91a-4ffb-bf2e-5ef6ecb1a652" targetNamespace="http://schemas.microsoft.com/office/2006/metadata/properties" ma:root="true" ma:fieldsID="6f7e51391faa73f93e4e2284f02b0463" ns3:_="" ns4:_="">
    <xsd:import namespace="aa68e20f-c3f0-4972-a9d0-e6d88263737a"/>
    <xsd:import namespace="d94a225f-c91a-4ffb-bf2e-5ef6ecb1a65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68e20f-c3f0-4972-a9d0-e6d88263737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4a225f-c91a-4ffb-bf2e-5ef6ecb1a65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6D90104-D06F-423E-AC30-5EBEBE15EE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a68e20f-c3f0-4972-a9d0-e6d88263737a"/>
    <ds:schemaRef ds:uri="d94a225f-c91a-4ffb-bf2e-5ef6ecb1a65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2BB2DA0-BBBB-4215-95A1-C2DC120122AB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156A1FC0-F4E0-4657-979A-FB77709E9A5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306</TotalTime>
  <Words>2169</Words>
  <Application>Microsoft Office PowerPoint</Application>
  <PresentationFormat>Widescreen</PresentationFormat>
  <Paragraphs>253</Paragraphs>
  <Slides>32</Slides>
  <Notes>2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5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32</vt:i4>
      </vt:variant>
    </vt:vector>
  </HeadingPairs>
  <TitlesOfParts>
    <vt:vector size="43" baseType="lpstr">
      <vt:lpstr>Arial</vt:lpstr>
      <vt:lpstr>Calibri</vt:lpstr>
      <vt:lpstr>Comfortaa</vt:lpstr>
      <vt:lpstr>KPMG Extralight</vt:lpstr>
      <vt:lpstr>Wingdings</vt:lpstr>
      <vt:lpstr>MI_CS</vt:lpstr>
      <vt:lpstr>1_MI_CS</vt:lpstr>
      <vt:lpstr>2_MI_CS</vt:lpstr>
      <vt:lpstr>3_MI_CS</vt:lpstr>
      <vt:lpstr>4_MI_CS</vt:lpstr>
      <vt:lpstr>Diapositiva think-cell</vt:lpstr>
      <vt:lpstr>Il Curriculum dello studente</vt:lpstr>
      <vt:lpstr>Presentazione standard di PowerPoint</vt:lpstr>
      <vt:lpstr>Presentazione standard di PowerPoint</vt:lpstr>
      <vt:lpstr>Cos’è il Curriculum dello studente</vt:lpstr>
      <vt:lpstr>Il valore del Curriculum</vt:lpstr>
      <vt:lpstr>Curriculum dello studente ed esame di Stato (O.M. 53/2021)  </vt:lpstr>
      <vt:lpstr>Come è strutturato il Curriculum</vt:lpstr>
      <vt:lpstr>Il documento</vt:lpstr>
      <vt:lpstr>La piattaforma informatica</vt:lpstr>
      <vt:lpstr>I riferimenti normativi</vt:lpstr>
      <vt:lpstr>Gli sviluppi futuri secondo la normativa</vt:lpstr>
      <vt:lpstr>Presentazione standard di PowerPoint</vt:lpstr>
      <vt:lpstr>Le attività previste - le scuole</vt:lpstr>
      <vt:lpstr>Le attività previste - gli studenti</vt:lpstr>
      <vt:lpstr>Le attività previste - le commissioni</vt:lpstr>
      <vt:lpstr>Candidati esterni</vt:lpstr>
      <vt:lpstr>Presentazione standard di PowerPoint</vt:lpstr>
      <vt:lpstr>Il contesto di riferimento per l’a.s. 2020/21</vt:lpstr>
      <vt:lpstr>La popolazione interessata </vt:lpstr>
      <vt:lpstr>Le funzioni a disposizione delle scuole</vt:lpstr>
      <vt:lpstr>Presentazione standard di PowerPoint</vt:lpstr>
      <vt:lpstr>Presentazione standard di PowerPoint</vt:lpstr>
      <vt:lpstr>Le funzioni a disposizione delle scuole Consolidamento Curriculum </vt:lpstr>
      <vt:lpstr>Le funzioni a disposizione delle scuole Consolidamento Curriculum </vt:lpstr>
      <vt:lpstr>La Piattaforma informatica per gli studenti</vt:lpstr>
      <vt:lpstr>La Piattaforma informatica per gli studenti</vt:lpstr>
      <vt:lpstr>La Piattaforma informatica per gli studenti</vt:lpstr>
      <vt:lpstr>La Piattaforma informatica per gli studenti</vt:lpstr>
      <vt:lpstr>Sito web Curriculum dello studente</vt:lpstr>
      <vt:lpstr>Sito web Curriculum dello studente Accesso alle funzioni</vt:lpstr>
      <vt:lpstr>Materiale di accompagnamento</vt:lpstr>
      <vt:lpstr>Grazie per l’attenzione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ian Kurniawan</dc:creator>
  <cp:lastModifiedBy>a4170</cp:lastModifiedBy>
  <cp:revision>1418</cp:revision>
  <dcterms:created xsi:type="dcterms:W3CDTF">2018-12-05T18:19:15Z</dcterms:created>
  <dcterms:modified xsi:type="dcterms:W3CDTF">2021-04-14T20:50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3260EE250A7704B93AC6558DED4C9F0</vt:lpwstr>
  </property>
</Properties>
</file>